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1" r:id="rId2"/>
  </p:sldMasterIdLst>
  <p:notesMasterIdLst>
    <p:notesMasterId r:id="rId9"/>
  </p:notesMasterIdLst>
  <p:handoutMasterIdLst>
    <p:handoutMasterId r:id="rId10"/>
  </p:handoutMasterIdLst>
  <p:sldIdLst>
    <p:sldId id="256" r:id="rId3"/>
    <p:sldId id="505" r:id="rId4"/>
    <p:sldId id="499" r:id="rId5"/>
    <p:sldId id="500" r:id="rId6"/>
    <p:sldId id="501" r:id="rId7"/>
    <p:sldId id="502" r:id="rId8"/>
  </p:sldIdLst>
  <p:sldSz cx="12192000" cy="6858000"/>
  <p:notesSz cx="7315200" cy="9601200"/>
  <p:custDataLst>
    <p:tags r:id="rId1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121745-E7B3-4231-B210-29EBB0163567}" v="439" dt="2026-07-11T17:09:39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5768" autoAdjust="0"/>
  </p:normalViewPr>
  <p:slideViewPr>
    <p:cSldViewPr snapToGrid="0">
      <p:cViewPr>
        <p:scale>
          <a:sx n="40" d="100"/>
          <a:sy n="40" d="100"/>
        </p:scale>
        <p:origin x="36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172"/>
    </p:cViewPr>
  </p:sorterViewPr>
  <p:notesViewPr>
    <p:cSldViewPr snapToGrid="0">
      <p:cViewPr varScale="1">
        <p:scale>
          <a:sx n="117" d="100"/>
          <a:sy n="117" d="100"/>
        </p:scale>
        <p:origin x="2064" y="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n Bleeker Pedersen" userId="34252400-a232-4440-8831-8cadcf57ce35" providerId="ADAL" clId="{5D18C0C2-102A-4970-B33C-1D15BE2F2270}"/>
    <pc:docChg chg="undo custSel addSld delSld modSld addMainMaster modMainMaster">
      <pc:chgData name="Dann Bleeker Pedersen" userId="34252400-a232-4440-8831-8cadcf57ce35" providerId="ADAL" clId="{5D18C0C2-102A-4970-B33C-1D15BE2F2270}" dt="2026-07-11T17:12:25.029" v="1135" actId="20577"/>
      <pc:docMkLst>
        <pc:docMk/>
      </pc:docMkLst>
      <pc:sldChg chg="modSp mod">
        <pc:chgData name="Dann Bleeker Pedersen" userId="34252400-a232-4440-8831-8cadcf57ce35" providerId="ADAL" clId="{5D18C0C2-102A-4970-B33C-1D15BE2F2270}" dt="2026-07-11T17:09:08.210" v="1073" actId="20577"/>
        <pc:sldMkLst>
          <pc:docMk/>
          <pc:sldMk cId="542153020" sldId="256"/>
        </pc:sldMkLst>
        <pc:spChg chg="mod">
          <ac:chgData name="Dann Bleeker Pedersen" userId="34252400-a232-4440-8831-8cadcf57ce35" providerId="ADAL" clId="{5D18C0C2-102A-4970-B33C-1D15BE2F2270}" dt="2026-07-11T16:57:46.011" v="15" actId="948"/>
          <ac:spMkLst>
            <pc:docMk/>
            <pc:sldMk cId="542153020" sldId="256"/>
            <ac:spMk id="5" creationId="{D4469AD6-8E34-4AA2-8874-827559293A16}"/>
          </ac:spMkLst>
        </pc:spChg>
        <pc:spChg chg="mod">
          <ac:chgData name="Dann Bleeker Pedersen" userId="34252400-a232-4440-8831-8cadcf57ce35" providerId="ADAL" clId="{5D18C0C2-102A-4970-B33C-1D15BE2F2270}" dt="2026-07-11T17:09:08.210" v="1073" actId="20577"/>
          <ac:spMkLst>
            <pc:docMk/>
            <pc:sldMk cId="542153020" sldId="256"/>
            <ac:spMk id="6" creationId="{A0F8534B-CCA8-4A2C-9A0E-A0613E69566D}"/>
          </ac:spMkLst>
        </pc:spChg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72625955" sldId="257"/>
        </pc:sldMkLst>
      </pc:sldChg>
      <pc:sldChg chg="del">
        <pc:chgData name="Dann Bleeker Pedersen" userId="34252400-a232-4440-8831-8cadcf57ce35" providerId="ADAL" clId="{5D18C0C2-102A-4970-B33C-1D15BE2F2270}" dt="2026-07-11T16:58:28.575" v="20" actId="47"/>
        <pc:sldMkLst>
          <pc:docMk/>
          <pc:sldMk cId="4274519734" sldId="34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943930463" sldId="35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020716378" sldId="37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49430751" sldId="374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648339991" sldId="375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768373809" sldId="376"/>
        </pc:sldMkLst>
      </pc:sldChg>
      <pc:sldChg chg="del">
        <pc:chgData name="Dann Bleeker Pedersen" userId="34252400-a232-4440-8831-8cadcf57ce35" providerId="ADAL" clId="{5D18C0C2-102A-4970-B33C-1D15BE2F2270}" dt="2026-07-11T17:10:45.074" v="1075"/>
        <pc:sldMkLst>
          <pc:docMk/>
          <pc:sldMk cId="1456019505" sldId="37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56736646" sldId="378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916233395" sldId="380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707316418" sldId="381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333139158" sldId="3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98151888" sldId="3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2687327010" sldId="3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7975369" sldId="387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3102427887" sldId="3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00722627" sldId="45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003842811" sldId="46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296669683" sldId="47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064288170" sldId="47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75618433" sldId="47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7627673" sldId="481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993530815" sldId="48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254147672" sldId="483"/>
        </pc:sldMkLst>
      </pc:sldChg>
      <pc:sldChg chg="del">
        <pc:chgData name="Dann Bleeker Pedersen" userId="34252400-a232-4440-8831-8cadcf57ce35" providerId="ADAL" clId="{5D18C0C2-102A-4970-B33C-1D15BE2F2270}" dt="2026-07-11T16:58:35.105" v="21" actId="47"/>
        <pc:sldMkLst>
          <pc:docMk/>
          <pc:sldMk cId="164568350" sldId="48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149684693" sldId="48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769069759" sldId="48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83483127" sldId="48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417831796" sldId="488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246369197" sldId="489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195388432" sldId="490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896925349" sldId="492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550798905" sldId="493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160117428" sldId="494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864908037" sldId="495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2641140078" sldId="496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3862387344" sldId="497"/>
        </pc:sldMkLst>
      </pc:sldChg>
      <pc:sldChg chg="del">
        <pc:chgData name="Dann Bleeker Pedersen" userId="34252400-a232-4440-8831-8cadcf57ce35" providerId="ADAL" clId="{5D18C0C2-102A-4970-B33C-1D15BE2F2270}" dt="2026-07-11T17:08:51.802" v="1072" actId="47"/>
        <pc:sldMkLst>
          <pc:docMk/>
          <pc:sldMk cId="4173200387" sldId="498"/>
        </pc:sldMkLst>
      </pc:sldChg>
      <pc:sldChg chg="addSp delSp modSp new mod modClrScheme chgLayout">
        <pc:chgData name="Dann Bleeker Pedersen" userId="34252400-a232-4440-8831-8cadcf57ce35" providerId="ADAL" clId="{5D18C0C2-102A-4970-B33C-1D15BE2F2270}" dt="2026-07-11T17:01:48.352" v="154" actId="299"/>
        <pc:sldMkLst>
          <pc:docMk/>
          <pc:sldMk cId="3623608015" sldId="499"/>
        </pc:sldMkLst>
        <pc:spChg chg="del 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2" creationId="{E059E4CC-D366-0842-92B3-D780E3035B01}"/>
          </ac:spMkLst>
        </pc:spChg>
        <pc:spChg chg="del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3" creationId="{EA77EF0D-0237-F0B0-AA14-FCF9AF927BDD}"/>
          </ac:spMkLst>
        </pc:spChg>
        <pc:spChg chg="mod ord">
          <ac:chgData name="Dann Bleeker Pedersen" userId="34252400-a232-4440-8831-8cadcf57ce35" providerId="ADAL" clId="{5D18C0C2-102A-4970-B33C-1D15BE2F2270}" dt="2026-07-11T16:59:07.315" v="23" actId="700"/>
          <ac:spMkLst>
            <pc:docMk/>
            <pc:sldMk cId="3623608015" sldId="499"/>
            <ac:spMk id="4" creationId="{F07E026C-F03F-38D1-B2D5-20A8F5DD642D}"/>
          </ac:spMkLst>
        </pc:spChg>
        <pc:spChg chg="add mod ord">
          <ac:chgData name="Dann Bleeker Pedersen" userId="34252400-a232-4440-8831-8cadcf57ce35" providerId="ADAL" clId="{5D18C0C2-102A-4970-B33C-1D15BE2F2270}" dt="2026-07-11T17:01:48.352" v="154" actId="299"/>
          <ac:spMkLst>
            <pc:docMk/>
            <pc:sldMk cId="3623608015" sldId="499"/>
            <ac:spMk id="5" creationId="{E748DAAA-173D-BD33-DD92-23B299DCBC62}"/>
          </ac:spMkLst>
        </pc:spChg>
        <pc:spChg chg="add mod">
          <ac:chgData name="Dann Bleeker Pedersen" userId="34252400-a232-4440-8831-8cadcf57ce35" providerId="ADAL" clId="{5D18C0C2-102A-4970-B33C-1D15BE2F2270}" dt="2026-07-11T16:59:18.883" v="39" actId="1076"/>
          <ac:spMkLst>
            <pc:docMk/>
            <pc:sldMk cId="3623608015" sldId="499"/>
            <ac:spMk id="8" creationId="{E3275A02-8949-59BC-5361-8DD15AEC1356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3" creationId="{90389883-2AF8-842B-8EE6-1F7E8A5A87D8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17" creationId="{1036125C-4A6E-221E-28DA-BDC092B59F39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6" creationId="{CB66547F-974F-EDD1-38F4-243DF46DDF2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27" creationId="{16ADA439-9A8F-5A41-0B52-D57BA0B247F4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3" creationId="{B982F8B2-F44F-4E66-62B0-CD78ED179F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38" creationId="{483138FA-AD7A-71AD-ACC3-E5682F435F9D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1" creationId="{76EC1C61-0852-C80E-54A9-760D899DEBB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2" creationId="{70252B8C-F15D-3D6C-06C9-EF5435718CAC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3" creationId="{41C3C7D9-0F0E-7BDA-F865-3C2AD10565A2}"/>
          </ac:spMkLst>
        </pc:spChg>
        <pc:spChg chg="mod">
          <ac:chgData name="Dann Bleeker Pedersen" userId="34252400-a232-4440-8831-8cadcf57ce35" providerId="ADAL" clId="{5D18C0C2-102A-4970-B33C-1D15BE2F2270}" dt="2026-07-11T16:59:41.753" v="41"/>
          <ac:spMkLst>
            <pc:docMk/>
            <pc:sldMk cId="3623608015" sldId="499"/>
            <ac:spMk id="46" creationId="{7E9B8603-80E5-0A9B-0406-B3DC75168F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2" creationId="{28B4C702-DB37-8EA8-4823-8E8B6E8DA78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58" creationId="{6C57A474-BD7B-923A-0605-991406DFA34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3" creationId="{F2ED755A-5736-0B85-50BF-E74D0376BCEB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67" creationId="{AE2A4DF9-B09D-3FE0-9105-CDF2EC15B6F0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6" creationId="{138FE32E-CB45-4715-52F2-F377499F0072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7" creationId="{E9ADC7B3-4F7B-6196-ECB2-95BE7C2C4F7F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78" creationId="{9B411E96-D8B7-3570-6F46-3959F86E608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2" creationId="{B8292B35-753F-2799-371A-4280C1ABF20D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3" creationId="{C84E1B3C-BFFA-302C-4479-50741EA64D57}"/>
          </ac:spMkLst>
        </pc:spChg>
        <pc:spChg chg="mod">
          <ac:chgData name="Dann Bleeker Pedersen" userId="34252400-a232-4440-8831-8cadcf57ce35" providerId="ADAL" clId="{5D18C0C2-102A-4970-B33C-1D15BE2F2270}" dt="2026-07-11T17:00:01.968" v="77" actId="1036"/>
          <ac:spMkLst>
            <pc:docMk/>
            <pc:sldMk cId="3623608015" sldId="499"/>
            <ac:spMk id="86" creationId="{BBBF76B1-38BD-AE1E-2B8E-51673E0267CC}"/>
          </ac:spMkLst>
        </pc:spChg>
        <pc:graphicFrameChg chg="add mod ord modVis">
          <ac:chgData name="Dann Bleeker Pedersen" userId="34252400-a232-4440-8831-8cadcf57ce35" providerId="ADAL" clId="{5D18C0C2-102A-4970-B33C-1D15BE2F2270}" dt="2026-07-11T16:59:07.849" v="37"/>
          <ac:graphicFrameMkLst>
            <pc:docMk/>
            <pc:sldMk cId="3623608015" sldId="499"/>
            <ac:graphicFrameMk id="6" creationId="{56C04764-C227-690A-5265-762155F6825A}"/>
          </ac:graphicFrameMkLst>
        </pc:graphicFrameChg>
        <pc:graphicFrameChg chg="add mod modGraphic">
          <ac:chgData name="Dann Bleeker Pedersen" userId="34252400-a232-4440-8831-8cadcf57ce35" providerId="ADAL" clId="{5D18C0C2-102A-4970-B33C-1D15BE2F2270}" dt="2026-07-11T17:01:16.189" v="92" actId="207"/>
          <ac:graphicFrameMkLst>
            <pc:docMk/>
            <pc:sldMk cId="3623608015" sldId="499"/>
            <ac:graphicFrameMk id="7" creationId="{EE28A147-B997-C6E3-76D6-1DF5A9A89FE9}"/>
          </ac:graphicFrameMkLst>
        </pc:graphicFrameChg>
      </pc:sldChg>
      <pc:sldChg chg="addSp modSp new mod">
        <pc:chgData name="Dann Bleeker Pedersen" userId="34252400-a232-4440-8831-8cadcf57ce35" providerId="ADAL" clId="{5D18C0C2-102A-4970-B33C-1D15BE2F2270}" dt="2026-07-11T17:07:00.825" v="619" actId="207"/>
        <pc:sldMkLst>
          <pc:docMk/>
          <pc:sldMk cId="411994518" sldId="500"/>
        </pc:sldMkLst>
        <pc:spChg chg="mod ord">
          <ac:chgData name="Dann Bleeker Pedersen" userId="34252400-a232-4440-8831-8cadcf57ce35" providerId="ADAL" clId="{5D18C0C2-102A-4970-B33C-1D15BE2F2270}" dt="2026-07-11T17:06:28.548" v="569"/>
          <ac:spMkLst>
            <pc:docMk/>
            <pc:sldMk cId="411994518" sldId="500"/>
            <ac:spMk id="2" creationId="{869534CE-12F3-2AC9-3F72-31111F627913}"/>
          </ac:spMkLst>
        </pc:spChg>
        <pc:spChg chg="mod ord">
          <ac:chgData name="Dann Bleeker Pedersen" userId="34252400-a232-4440-8831-8cadcf57ce35" providerId="ADAL" clId="{5D18C0C2-102A-4970-B33C-1D15BE2F2270}" dt="2026-07-11T17:06:28.549" v="571"/>
          <ac:spMkLst>
            <pc:docMk/>
            <pc:sldMk cId="411994518" sldId="500"/>
            <ac:spMk id="3" creationId="{14F0436F-A6E2-B929-75FE-CC9DFC49EA57}"/>
          </ac:spMkLst>
        </pc:spChg>
        <pc:spChg chg="add mod ord">
          <ac:chgData name="Dann Bleeker Pedersen" userId="34252400-a232-4440-8831-8cadcf57ce35" providerId="ADAL" clId="{5D18C0C2-102A-4970-B33C-1D15BE2F2270}" dt="2026-07-11T17:06:28.561" v="611"/>
          <ac:spMkLst>
            <pc:docMk/>
            <pc:sldMk cId="411994518" sldId="500"/>
            <ac:spMk id="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38.080" v="617" actId="14100"/>
          <ac:spMkLst>
            <pc:docMk/>
            <pc:sldMk cId="411994518" sldId="500"/>
            <ac:spMk id="6" creationId="{1C6C87F3-388A-3AD9-A780-E305C9258559}"/>
          </ac:spMkLst>
        </pc:spChg>
        <pc:spChg chg="add mod ord">
          <ac:chgData name="Dann Bleeker Pedersen" userId="34252400-a232-4440-8831-8cadcf57ce35" providerId="ADAL" clId="{5D18C0C2-102A-4970-B33C-1D15BE2F2270}" dt="2026-07-11T17:06:28.550" v="573"/>
          <ac:spMkLst>
            <pc:docMk/>
            <pc:sldMk cId="411994518" sldId="500"/>
            <ac:spMk id="2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0" v="575"/>
          <ac:spMkLst>
            <pc:docMk/>
            <pc:sldMk cId="411994518" sldId="500"/>
            <ac:spMk id="2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7"/>
          <ac:spMkLst>
            <pc:docMk/>
            <pc:sldMk cId="411994518" sldId="500"/>
            <ac:spMk id="3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1" v="579"/>
          <ac:spMkLst>
            <pc:docMk/>
            <pc:sldMk cId="411994518" sldId="500"/>
            <ac:spMk id="3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2" v="581"/>
          <ac:spMkLst>
            <pc:docMk/>
            <pc:sldMk cId="411994518" sldId="500"/>
            <ac:spMk id="3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2" v="583"/>
          <ac:spMkLst>
            <pc:docMk/>
            <pc:sldMk cId="411994518" sldId="500"/>
            <ac:spMk id="33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3" v="585"/>
          <ac:spMkLst>
            <pc:docMk/>
            <pc:sldMk cId="411994518" sldId="500"/>
            <ac:spMk id="34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3:00.601" v="204"/>
          <ac:spMkLst>
            <pc:docMk/>
            <pc:sldMk cId="411994518" sldId="500"/>
            <ac:spMk id="39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89"/>
          <ac:spMkLst>
            <pc:docMk/>
            <pc:sldMk cId="411994518" sldId="500"/>
            <ac:spMk id="40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4" v="591"/>
          <ac:spMkLst>
            <pc:docMk/>
            <pc:sldMk cId="411994518" sldId="500"/>
            <ac:spMk id="41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5" v="593"/>
          <ac:spMkLst>
            <pc:docMk/>
            <pc:sldMk cId="411994518" sldId="500"/>
            <ac:spMk id="42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56" v="597"/>
          <ac:spMkLst>
            <pc:docMk/>
            <pc:sldMk cId="411994518" sldId="500"/>
            <ac:spMk id="44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7" v="599"/>
          <ac:spMkLst>
            <pc:docMk/>
            <pc:sldMk cId="411994518" sldId="500"/>
            <ac:spMk id="45" creationId="{00000000-0000-0000-0000-000000000000}"/>
          </ac:spMkLst>
        </pc:spChg>
        <pc:spChg chg="add mod ord">
          <ac:chgData name="Dann Bleeker Pedersen" userId="34252400-a232-4440-8831-8cadcf57ce35" providerId="ADAL" clId="{5D18C0C2-102A-4970-B33C-1D15BE2F2270}" dt="2026-07-11T17:06:28.558" v="603"/>
          <ac:spMkLst>
            <pc:docMk/>
            <pc:sldMk cId="411994518" sldId="500"/>
            <ac:spMk id="47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0" v="607"/>
          <ac:spMkLst>
            <pc:docMk/>
            <pc:sldMk cId="411994518" sldId="500"/>
            <ac:spMk id="48" creationId="{00000000-0000-0000-0000-000000000000}"/>
          </ac:spMkLst>
        </pc:spChg>
        <pc:spChg chg="mod ord">
          <ac:chgData name="Dann Bleeker Pedersen" userId="34252400-a232-4440-8831-8cadcf57ce35" providerId="ADAL" clId="{5D18C0C2-102A-4970-B33C-1D15BE2F2270}" dt="2026-07-11T17:06:28.562" v="613"/>
          <ac:spMkLst>
            <pc:docMk/>
            <pc:sldMk cId="411994518" sldId="500"/>
            <ac:spMk id="5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5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6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7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8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69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0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1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2" creationId="{00000000-0000-0000-0000-000000000000}"/>
          </ac:spMkLst>
        </pc:spChg>
        <pc:spChg chg="mod">
          <ac:chgData name="Dann Bleeker Pedersen" userId="34252400-a232-4440-8831-8cadcf57ce35" providerId="ADAL" clId="{5D18C0C2-102A-4970-B33C-1D15BE2F2270}" dt="2026-07-11T17:07:00.825" v="619" actId="207"/>
          <ac:spMkLst>
            <pc:docMk/>
            <pc:sldMk cId="411994518" sldId="500"/>
            <ac:spMk id="73" creationId="{00000000-0000-0000-0000-000000000000}"/>
          </ac:spMkLst>
        </pc:spChg>
        <pc:grpChg chg="mod ord">
          <ac:chgData name="Dann Bleeker Pedersen" userId="34252400-a232-4440-8831-8cadcf57ce35" providerId="ADAL" clId="{5D18C0C2-102A-4970-B33C-1D15BE2F2270}" dt="2026-07-11T17:06:28.553" v="587"/>
          <ac:grpSpMkLst>
            <pc:docMk/>
            <pc:sldMk cId="411994518" sldId="500"/>
            <ac:grpSpMk id="35" creationId="{00000000-0000-0000-0000-000000000000}"/>
          </ac:grpSpMkLst>
        </pc:grpChg>
        <pc:grpChg chg="mod ord">
          <ac:chgData name="Dann Bleeker Pedersen" userId="34252400-a232-4440-8831-8cadcf57ce35" providerId="ADAL" clId="{5D18C0C2-102A-4970-B33C-1D15BE2F2270}" dt="2026-07-11T17:06:28.561" v="609"/>
          <ac:grpSpMkLst>
            <pc:docMk/>
            <pc:sldMk cId="411994518" sldId="500"/>
            <ac:grpSpMk id="54" creationId="{00000000-0000-0000-0000-000000000000}"/>
          </ac:grpSpMkLst>
        </pc:grpChg>
        <pc:grpChg chg="mod">
          <ac:chgData name="Dann Bleeker Pedersen" userId="34252400-a232-4440-8831-8cadcf57ce35" providerId="ADAL" clId="{5D18C0C2-102A-4970-B33C-1D15BE2F2270}" dt="2026-07-11T17:06:28.562" v="614"/>
          <ac:grpSpMkLst>
            <pc:docMk/>
            <pc:sldMk cId="411994518" sldId="500"/>
            <ac:grpSpMk id="60" creationId="{00000000-0000-0000-0000-000000000000}"/>
          </ac:grpSpMkLst>
        </pc:grpChg>
        <pc:graphicFrameChg chg="add mod ord modVis">
          <ac:chgData name="Dann Bleeker Pedersen" userId="34252400-a232-4440-8831-8cadcf57ce35" providerId="ADAL" clId="{5D18C0C2-102A-4970-B33C-1D15BE2F2270}" dt="2026-07-11T17:06:28.563" v="616"/>
          <ac:graphicFrameMkLst>
            <pc:docMk/>
            <pc:sldMk cId="411994518" sldId="500"/>
            <ac:graphicFrameMk id="4" creationId="{6230CC99-4C1A-53FE-3F41-42D194E1FAC8}"/>
          </ac:graphicFrameMkLst>
        </pc:graphicFrameChg>
        <pc:graphicFrameChg chg="mod ord modGraphic">
          <ac:chgData name="Dann Bleeker Pedersen" userId="34252400-a232-4440-8831-8cadcf57ce35" providerId="ADAL" clId="{5D18C0C2-102A-4970-B33C-1D15BE2F2270}" dt="2026-07-11T17:06:28.555" v="595"/>
          <ac:graphicFrameMkLst>
            <pc:docMk/>
            <pc:sldMk cId="411994518" sldId="500"/>
            <ac:graphicFrameMk id="43" creationId="{00000000-0000-0000-0000-000000000000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6:28.558" v="601"/>
          <ac:graphicFrameMkLst>
            <pc:docMk/>
            <pc:sldMk cId="411994518" sldId="500"/>
            <ac:graphicFrameMk id="46" creationId="{00000000-0000-0000-0000-000000000000}"/>
          </ac:graphicFrameMkLst>
        </pc:graphicFrameChg>
      </pc:sldChg>
      <pc:sldChg chg="addSp delSp modSp new mod">
        <pc:chgData name="Dann Bleeker Pedersen" userId="34252400-a232-4440-8831-8cadcf57ce35" providerId="ADAL" clId="{5D18C0C2-102A-4970-B33C-1D15BE2F2270}" dt="2026-07-11T17:07:49.911" v="913" actId="299"/>
        <pc:sldMkLst>
          <pc:docMk/>
          <pc:sldMk cId="3937300168" sldId="501"/>
        </pc:sldMkLst>
        <pc:spChg chg="mod ord">
          <ac:chgData name="Dann Bleeker Pedersen" userId="34252400-a232-4440-8831-8cadcf57ce35" providerId="ADAL" clId="{5D18C0C2-102A-4970-B33C-1D15BE2F2270}" dt="2026-07-11T17:07:49.911" v="913" actId="299"/>
          <ac:spMkLst>
            <pc:docMk/>
            <pc:sldMk cId="3937300168" sldId="501"/>
            <ac:spMk id="2" creationId="{065E193B-99B8-5D5F-8707-DED498BC96AE}"/>
          </ac:spMkLst>
        </pc:spChg>
        <pc:spChg chg="mod ord">
          <ac:chgData name="Dann Bleeker Pedersen" userId="34252400-a232-4440-8831-8cadcf57ce35" providerId="ADAL" clId="{5D18C0C2-102A-4970-B33C-1D15BE2F2270}" dt="2026-07-11T17:07:35.890" v="842"/>
          <ac:spMkLst>
            <pc:docMk/>
            <pc:sldMk cId="3937300168" sldId="501"/>
            <ac:spMk id="3" creationId="{2751A1E9-3AAA-A111-83C4-61E3C0C5F484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4"/>
          <ac:spMkLst>
            <pc:docMk/>
            <pc:sldMk cId="3937300168" sldId="501"/>
            <ac:spMk id="4" creationId="{8A45A0EE-DC43-AC36-855A-C2E4CD7088E6}"/>
          </ac:spMkLst>
        </pc:spChg>
        <pc:spChg chg="mod ord">
          <ac:chgData name="Dann Bleeker Pedersen" userId="34252400-a232-4440-8831-8cadcf57ce35" providerId="ADAL" clId="{5D18C0C2-102A-4970-B33C-1D15BE2F2270}" dt="2026-07-11T17:07:35.891" v="846"/>
          <ac:spMkLst>
            <pc:docMk/>
            <pc:sldMk cId="3937300168" sldId="501"/>
            <ac:spMk id="5" creationId="{10091CFB-916B-B3B3-5CF7-8DEB4B5E802A}"/>
          </ac:spMkLst>
        </pc:spChg>
        <pc:spChg chg="add mod ord">
          <ac:chgData name="Dann Bleeker Pedersen" userId="34252400-a232-4440-8831-8cadcf57ce35" providerId="ADAL" clId="{5D18C0C2-102A-4970-B33C-1D15BE2F2270}" dt="2026-07-11T17:07:35.891" v="848"/>
          <ac:spMkLst>
            <pc:docMk/>
            <pc:sldMk cId="3937300168" sldId="501"/>
            <ac:spMk id="6" creationId="{440F04B0-5582-A61E-0330-7D2FDC83C83F}"/>
          </ac:spMkLst>
        </pc:spChg>
        <pc:spChg chg="add mod ord">
          <ac:chgData name="Dann Bleeker Pedersen" userId="34252400-a232-4440-8831-8cadcf57ce35" providerId="ADAL" clId="{5D18C0C2-102A-4970-B33C-1D15BE2F2270}" dt="2026-07-11T17:07:35.892" v="850"/>
          <ac:spMkLst>
            <pc:docMk/>
            <pc:sldMk cId="3937300168" sldId="501"/>
            <ac:spMk id="7" creationId="{7B297095-606C-D2E7-BCBA-E8A3A8485D08}"/>
          </ac:spMkLst>
        </pc:spChg>
        <pc:spChg chg="mod ord">
          <ac:chgData name="Dann Bleeker Pedersen" userId="34252400-a232-4440-8831-8cadcf57ce35" providerId="ADAL" clId="{5D18C0C2-102A-4970-B33C-1D15BE2F2270}" dt="2026-07-11T17:07:35.892" v="852"/>
          <ac:spMkLst>
            <pc:docMk/>
            <pc:sldMk cId="3937300168" sldId="501"/>
            <ac:spMk id="8" creationId="{488A2350-D0EF-8C90-E193-C994D4FE05BB}"/>
          </ac:spMkLst>
        </pc:spChg>
        <pc:spChg chg="add mod">
          <ac:chgData name="Dann Bleeker Pedersen" userId="34252400-a232-4440-8831-8cadcf57ce35" providerId="ADAL" clId="{5D18C0C2-102A-4970-B33C-1D15BE2F2270}" dt="2026-07-11T17:07:35.895" v="861"/>
          <ac:spMkLst>
            <pc:docMk/>
            <pc:sldMk cId="3937300168" sldId="501"/>
            <ac:spMk id="13" creationId="{B41F4085-E077-F689-8E10-A41E67F04D05}"/>
          </ac:spMkLst>
        </pc:spChg>
        <pc:spChg chg="add mod">
          <ac:chgData name="Dann Bleeker Pedersen" userId="34252400-a232-4440-8831-8cadcf57ce35" providerId="ADAL" clId="{5D18C0C2-102A-4970-B33C-1D15BE2F2270}" dt="2026-07-11T17:07:35.896" v="862"/>
          <ac:spMkLst>
            <pc:docMk/>
            <pc:sldMk cId="3937300168" sldId="501"/>
            <ac:spMk id="14" creationId="{C8CA1E0A-6892-DFC0-7155-A83B5865758F}"/>
          </ac:spMkLst>
        </pc:spChg>
        <pc:spChg chg="mod">
          <ac:chgData name="Dann Bleeker Pedersen" userId="34252400-a232-4440-8831-8cadcf57ce35" providerId="ADAL" clId="{5D18C0C2-102A-4970-B33C-1D15BE2F2270}" dt="2026-07-11T17:07:35.896" v="863"/>
          <ac:spMkLst>
            <pc:docMk/>
            <pc:sldMk cId="3937300168" sldId="501"/>
            <ac:spMk id="15" creationId="{15ECA724-84A6-1197-DCEE-86B92CED3CA6}"/>
          </ac:spMkLst>
        </pc:spChg>
        <pc:spChg chg="mod ord">
          <ac:chgData name="Dann Bleeker Pedersen" userId="34252400-a232-4440-8831-8cadcf57ce35" providerId="ADAL" clId="{5D18C0C2-102A-4970-B33C-1D15BE2F2270}" dt="2026-07-11T17:07:35.897" v="865"/>
          <ac:spMkLst>
            <pc:docMk/>
            <pc:sldMk cId="3937300168" sldId="501"/>
            <ac:spMk id="16" creationId="{39F386B6-DEA5-58FF-0A78-E4B16331379A}"/>
          </ac:spMkLst>
        </pc:spChg>
        <pc:spChg chg="mod ord">
          <ac:chgData name="Dann Bleeker Pedersen" userId="34252400-a232-4440-8831-8cadcf57ce35" providerId="ADAL" clId="{5D18C0C2-102A-4970-B33C-1D15BE2F2270}" dt="2026-07-11T17:07:35.897" v="867"/>
          <ac:spMkLst>
            <pc:docMk/>
            <pc:sldMk cId="3937300168" sldId="501"/>
            <ac:spMk id="17" creationId="{3BCA067D-E1FE-30C4-F346-D0BD8323423F}"/>
          </ac:spMkLst>
        </pc:spChg>
        <pc:spChg chg="add mod ord">
          <ac:chgData name="Dann Bleeker Pedersen" userId="34252400-a232-4440-8831-8cadcf57ce35" providerId="ADAL" clId="{5D18C0C2-102A-4970-B33C-1D15BE2F2270}" dt="2026-07-11T17:07:35.898" v="869"/>
          <ac:spMkLst>
            <pc:docMk/>
            <pc:sldMk cId="3937300168" sldId="501"/>
            <ac:spMk id="18" creationId="{E39B1E0C-31B1-D3F8-6CFD-CA2F38F79E90}"/>
          </ac:spMkLst>
        </pc:spChg>
        <pc:spChg chg="mod ord">
          <ac:chgData name="Dann Bleeker Pedersen" userId="34252400-a232-4440-8831-8cadcf57ce35" providerId="ADAL" clId="{5D18C0C2-102A-4970-B33C-1D15BE2F2270}" dt="2026-07-11T17:07:35.898" v="871"/>
          <ac:spMkLst>
            <pc:docMk/>
            <pc:sldMk cId="3937300168" sldId="501"/>
            <ac:spMk id="19" creationId="{7B4AB9BA-2FC8-F706-DF58-C8FFDF353005}"/>
          </ac:spMkLst>
        </pc:spChg>
        <pc:spChg chg="add mod ord">
          <ac:chgData name="Dann Bleeker Pedersen" userId="34252400-a232-4440-8831-8cadcf57ce35" providerId="ADAL" clId="{5D18C0C2-102A-4970-B33C-1D15BE2F2270}" dt="2026-07-11T17:07:35.900" v="875"/>
          <ac:spMkLst>
            <pc:docMk/>
            <pc:sldMk cId="3937300168" sldId="501"/>
            <ac:spMk id="21" creationId="{43C5DEAB-573F-09DF-F9C6-757708FC2524}"/>
          </ac:spMkLst>
        </pc:spChg>
        <pc:spChg chg="mod ord">
          <ac:chgData name="Dann Bleeker Pedersen" userId="34252400-a232-4440-8831-8cadcf57ce35" providerId="ADAL" clId="{5D18C0C2-102A-4970-B33C-1D15BE2F2270}" dt="2026-07-11T17:07:35.900" v="877"/>
          <ac:spMkLst>
            <pc:docMk/>
            <pc:sldMk cId="3937300168" sldId="501"/>
            <ac:spMk id="22" creationId="{D081D27D-2E0A-58E9-4C98-BBD0B7D402B5}"/>
          </ac:spMkLst>
        </pc:spChg>
        <pc:spChg chg="mod ord">
          <ac:chgData name="Dann Bleeker Pedersen" userId="34252400-a232-4440-8831-8cadcf57ce35" providerId="ADAL" clId="{5D18C0C2-102A-4970-B33C-1D15BE2F2270}" dt="2026-07-11T17:07:35.901" v="879"/>
          <ac:spMkLst>
            <pc:docMk/>
            <pc:sldMk cId="3937300168" sldId="501"/>
            <ac:spMk id="23" creationId="{3AAE8D69-49A8-B518-B3DC-A1565785397B}"/>
          </ac:spMkLst>
        </pc:spChg>
        <pc:spChg chg="mod ord">
          <ac:chgData name="Dann Bleeker Pedersen" userId="34252400-a232-4440-8831-8cadcf57ce35" providerId="ADAL" clId="{5D18C0C2-102A-4970-B33C-1D15BE2F2270}" dt="2026-07-11T17:07:35.901" v="881"/>
          <ac:spMkLst>
            <pc:docMk/>
            <pc:sldMk cId="3937300168" sldId="501"/>
            <ac:spMk id="24" creationId="{5798B459-6AC8-6C63-7DE5-8758ABA48B24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3"/>
          <ac:spMkLst>
            <pc:docMk/>
            <pc:sldMk cId="3937300168" sldId="501"/>
            <ac:spMk id="25" creationId="{669ED8AA-FD39-500F-D83B-0F2FEF5EC2A1}"/>
          </ac:spMkLst>
        </pc:spChg>
        <pc:spChg chg="mod ord">
          <ac:chgData name="Dann Bleeker Pedersen" userId="34252400-a232-4440-8831-8cadcf57ce35" providerId="ADAL" clId="{5D18C0C2-102A-4970-B33C-1D15BE2F2270}" dt="2026-07-11T17:07:35.902" v="887"/>
          <ac:spMkLst>
            <pc:docMk/>
            <pc:sldMk cId="3937300168" sldId="501"/>
            <ac:spMk id="27" creationId="{E1628208-07CB-5D9D-E19C-E1C1A484D651}"/>
          </ac:spMkLst>
        </pc:spChg>
        <pc:spChg chg="add mod ord">
          <ac:chgData name="Dann Bleeker Pedersen" userId="34252400-a232-4440-8831-8cadcf57ce35" providerId="ADAL" clId="{5D18C0C2-102A-4970-B33C-1D15BE2F2270}" dt="2026-07-11T17:07:35.902" v="889"/>
          <ac:spMkLst>
            <pc:docMk/>
            <pc:sldMk cId="3937300168" sldId="501"/>
            <ac:spMk id="28" creationId="{A4A7E963-E2BB-3E0B-1A37-C70E6E39D1FE}"/>
          </ac:spMkLst>
        </pc:spChg>
        <pc:spChg chg="add mod ord">
          <ac:chgData name="Dann Bleeker Pedersen" userId="34252400-a232-4440-8831-8cadcf57ce35" providerId="ADAL" clId="{5D18C0C2-102A-4970-B33C-1D15BE2F2270}" dt="2026-07-11T17:07:35.904" v="891"/>
          <ac:spMkLst>
            <pc:docMk/>
            <pc:sldMk cId="3937300168" sldId="501"/>
            <ac:spMk id="29" creationId="{0E8F28C1-946F-82FF-BB41-94EB79B0B35D}"/>
          </ac:spMkLst>
        </pc:spChg>
        <pc:spChg chg="add del mod modVis">
          <ac:chgData name="Dann Bleeker Pedersen" userId="34252400-a232-4440-8831-8cadcf57ce35" providerId="ADAL" clId="{5D18C0C2-102A-4970-B33C-1D15BE2F2270}" dt="2026-07-11T17:07:35.905" v="895"/>
          <ac:spMkLst>
            <pc:docMk/>
            <pc:sldMk cId="3937300168" sldId="501"/>
            <ac:spMk id="31" creationId="{349E9E75-A125-F9F8-7A81-D6C94A678D80}"/>
          </ac:spMkLst>
        </pc:spChg>
        <pc:graphicFrameChg chg="del">
          <ac:chgData name="Dann Bleeker Pedersen" userId="34252400-a232-4440-8831-8cadcf57ce35" providerId="ADAL" clId="{5D18C0C2-102A-4970-B33C-1D15BE2F2270}" dt="2026-07-11T17:07:35.846" v="763"/>
          <ac:graphicFrameMkLst>
            <pc:docMk/>
            <pc:sldMk cId="3937300168" sldId="501"/>
            <ac:graphicFrameMk id="11" creationId="{172908C0-9AFA-C78A-87D7-2D0D74FC3D28}"/>
          </ac:graphicFrameMkLst>
        </pc:graphicFrameChg>
        <pc:graphicFrameChg chg="mod ord">
          <ac:chgData name="Dann Bleeker Pedersen" userId="34252400-a232-4440-8831-8cadcf57ce35" providerId="ADAL" clId="{5D18C0C2-102A-4970-B33C-1D15BE2F2270}" dt="2026-07-11T17:07:35.899" v="873"/>
          <ac:graphicFrameMkLst>
            <pc:docMk/>
            <pc:sldMk cId="3937300168" sldId="501"/>
            <ac:graphicFrameMk id="20" creationId="{2DB22F87-76DC-9D8C-D71F-EFDAAC7346F0}"/>
          </ac:graphicFrameMkLst>
        </pc:graphicFrameChg>
        <pc:graphicFrameChg chg="add mod ord">
          <ac:chgData name="Dann Bleeker Pedersen" userId="34252400-a232-4440-8831-8cadcf57ce35" providerId="ADAL" clId="{5D18C0C2-102A-4970-B33C-1D15BE2F2270}" dt="2026-07-11T17:07:35.894" v="858"/>
          <ac:graphicFrameMkLst>
            <pc:docMk/>
            <pc:sldMk cId="3937300168" sldId="501"/>
            <ac:graphicFrameMk id="32" creationId="{51CF0938-0D78-3D16-3B77-2217B73F9351}"/>
          </ac:graphicFrameMkLst>
        </pc:graphicFrameChg>
        <pc:graphicFrameChg chg="add mod ord modVis">
          <ac:chgData name="Dann Bleeker Pedersen" userId="34252400-a232-4440-8831-8cadcf57ce35" providerId="ADAL" clId="{5D18C0C2-102A-4970-B33C-1D15BE2F2270}" dt="2026-07-11T17:07:35.923" v="909"/>
          <ac:graphicFrameMkLst>
            <pc:docMk/>
            <pc:sldMk cId="3937300168" sldId="501"/>
            <ac:graphicFrameMk id="33" creationId="{EE3959E4-EC66-7971-FAC8-615E734010DE}"/>
          </ac:graphicFrameMkLst>
        </pc:graphicFrameChg>
        <pc:cxnChg chg="mod ord">
          <ac:chgData name="Dann Bleeker Pedersen" userId="34252400-a232-4440-8831-8cadcf57ce35" providerId="ADAL" clId="{5D18C0C2-102A-4970-B33C-1D15BE2F2270}" dt="2026-07-11T17:07:35.894" v="854"/>
          <ac:cxnSpMkLst>
            <pc:docMk/>
            <pc:sldMk cId="3937300168" sldId="501"/>
            <ac:cxnSpMk id="9" creationId="{02BE6E41-46E4-E0A9-A78B-D03A22DA6A9A}"/>
          </ac:cxnSpMkLst>
        </pc:cxnChg>
        <pc:cxnChg chg="mod ord">
          <ac:chgData name="Dann Bleeker Pedersen" userId="34252400-a232-4440-8831-8cadcf57ce35" providerId="ADAL" clId="{5D18C0C2-102A-4970-B33C-1D15BE2F2270}" dt="2026-07-11T17:07:35.894" v="856"/>
          <ac:cxnSpMkLst>
            <pc:docMk/>
            <pc:sldMk cId="3937300168" sldId="501"/>
            <ac:cxnSpMk id="10" creationId="{85D80E34-35A0-A2F0-A855-499DBC47DF6C}"/>
          </ac:cxnSpMkLst>
        </pc:cxnChg>
        <pc:cxnChg chg="mod ord">
          <ac:chgData name="Dann Bleeker Pedersen" userId="34252400-a232-4440-8831-8cadcf57ce35" providerId="ADAL" clId="{5D18C0C2-102A-4970-B33C-1D15BE2F2270}" dt="2026-07-11T17:07:35.895" v="860"/>
          <ac:cxnSpMkLst>
            <pc:docMk/>
            <pc:sldMk cId="3937300168" sldId="501"/>
            <ac:cxnSpMk id="12" creationId="{160CA1AC-3397-5B19-A5F1-A32A2B52BC3A}"/>
          </ac:cxnSpMkLst>
        </pc:cxnChg>
        <pc:cxnChg chg="mod ord">
          <ac:chgData name="Dann Bleeker Pedersen" userId="34252400-a232-4440-8831-8cadcf57ce35" providerId="ADAL" clId="{5D18C0C2-102A-4970-B33C-1D15BE2F2270}" dt="2026-07-11T17:07:35.902" v="885"/>
          <ac:cxnSpMkLst>
            <pc:docMk/>
            <pc:sldMk cId="3937300168" sldId="501"/>
            <ac:cxnSpMk id="26" creationId="{BE66E139-9BA2-F648-2E82-8DBE0168D8A8}"/>
          </ac:cxnSpMkLst>
        </pc:cxnChg>
        <pc:cxnChg chg="mod ord">
          <ac:chgData name="Dann Bleeker Pedersen" userId="34252400-a232-4440-8831-8cadcf57ce35" providerId="ADAL" clId="{5D18C0C2-102A-4970-B33C-1D15BE2F2270}" dt="2026-07-11T17:07:35.904" v="893"/>
          <ac:cxnSpMkLst>
            <pc:docMk/>
            <pc:sldMk cId="3937300168" sldId="501"/>
            <ac:cxnSpMk id="30" creationId="{4A07C53A-62DC-681A-66EB-6E077A5FC109}"/>
          </ac:cxnSpMkLst>
        </pc:cxnChg>
      </pc:sldChg>
      <pc:sldChg chg="addSp delSp modSp add mod">
        <pc:chgData name="Dann Bleeker Pedersen" userId="34252400-a232-4440-8831-8cadcf57ce35" providerId="ADAL" clId="{5D18C0C2-102A-4970-B33C-1D15BE2F2270}" dt="2026-07-11T17:08:40.005" v="1071" actId="1076"/>
        <pc:sldMkLst>
          <pc:docMk/>
          <pc:sldMk cId="3868029881" sldId="502"/>
        </pc:sldMkLst>
        <pc:spChg chg="mod">
          <ac:chgData name="Dann Bleeker Pedersen" userId="34252400-a232-4440-8831-8cadcf57ce35" providerId="ADAL" clId="{5D18C0C2-102A-4970-B33C-1D15BE2F2270}" dt="2026-07-11T17:08:00.329" v="997" actId="299"/>
          <ac:spMkLst>
            <pc:docMk/>
            <pc:sldMk cId="3868029881" sldId="502"/>
            <ac:spMk id="2" creationId="{4488E6EA-EEEE-4639-EE7E-A1457F1A3C53}"/>
          </ac:spMkLst>
        </pc:spChg>
        <pc:spChg chg="del">
          <ac:chgData name="Dann Bleeker Pedersen" userId="34252400-a232-4440-8831-8cadcf57ce35" providerId="ADAL" clId="{5D18C0C2-102A-4970-B33C-1D15BE2F2270}" dt="2026-07-11T17:08:05.605" v="1037"/>
          <ac:spMkLst>
            <pc:docMk/>
            <pc:sldMk cId="3868029881" sldId="502"/>
            <ac:spMk id="4" creationId="{5F82491D-AF0E-1987-C29F-7E8AC0B8661C}"/>
          </ac:spMkLst>
        </pc:spChg>
        <pc:spChg chg="del">
          <ac:chgData name="Dann Bleeker Pedersen" userId="34252400-a232-4440-8831-8cadcf57ce35" providerId="ADAL" clId="{5D18C0C2-102A-4970-B33C-1D15BE2F2270}" dt="2026-07-11T17:08:05.608" v="1043"/>
          <ac:spMkLst>
            <pc:docMk/>
            <pc:sldMk cId="3868029881" sldId="502"/>
            <ac:spMk id="5" creationId="{4923A9A5-FEF7-D6F6-46A0-01B31297FCE1}"/>
          </ac:spMkLst>
        </pc:spChg>
        <pc:spChg chg="del">
          <ac:chgData name="Dann Bleeker Pedersen" userId="34252400-a232-4440-8831-8cadcf57ce35" providerId="ADAL" clId="{5D18C0C2-102A-4970-B33C-1D15BE2F2270}" dt="2026-07-11T17:08:05.606" v="1039"/>
          <ac:spMkLst>
            <pc:docMk/>
            <pc:sldMk cId="3868029881" sldId="502"/>
            <ac:spMk id="6" creationId="{6816849D-053F-C794-3C30-5625EA06918F}"/>
          </ac:spMkLst>
        </pc:spChg>
        <pc:spChg chg="del">
          <ac:chgData name="Dann Bleeker Pedersen" userId="34252400-a232-4440-8831-8cadcf57ce35" providerId="ADAL" clId="{5D18C0C2-102A-4970-B33C-1D15BE2F2270}" dt="2026-07-11T17:08:05.607" v="1041"/>
          <ac:spMkLst>
            <pc:docMk/>
            <pc:sldMk cId="3868029881" sldId="502"/>
            <ac:spMk id="7" creationId="{B1E16252-1BEC-EC9C-FD60-3B1BB1A60500}"/>
          </ac:spMkLst>
        </pc:spChg>
        <pc:spChg chg="del">
          <ac:chgData name="Dann Bleeker Pedersen" userId="34252400-a232-4440-8831-8cadcf57ce35" providerId="ADAL" clId="{5D18C0C2-102A-4970-B33C-1D15BE2F2270}" dt="2026-07-11T17:08:05.609" v="1045"/>
          <ac:spMkLst>
            <pc:docMk/>
            <pc:sldMk cId="3868029881" sldId="502"/>
            <ac:spMk id="8" creationId="{AA45BE69-82F0-54B5-5663-50B039E678EA}"/>
          </ac:spMkLst>
        </pc:spChg>
        <pc:spChg chg="add del mod modVis">
          <ac:chgData name="Dann Bleeker Pedersen" userId="34252400-a232-4440-8831-8cadcf57ce35" providerId="ADAL" clId="{5D18C0C2-102A-4970-B33C-1D15BE2F2270}" dt="2026-07-11T17:08:00.367" v="1014"/>
          <ac:spMkLst>
            <pc:docMk/>
            <pc:sldMk cId="3868029881" sldId="502"/>
            <ac:spMk id="11" creationId="{232E1CF1-6EEB-294F-AADB-566134607B6F}"/>
          </ac:spMkLst>
        </pc:spChg>
        <pc:spChg chg="del mod">
          <ac:chgData name="Dann Bleeker Pedersen" userId="34252400-a232-4440-8831-8cadcf57ce35" providerId="ADAL" clId="{5D18C0C2-102A-4970-B33C-1D15BE2F2270}" dt="2026-07-11T17:08:05.599" v="1025"/>
          <ac:spMkLst>
            <pc:docMk/>
            <pc:sldMk cId="3868029881" sldId="502"/>
            <ac:spMk id="13" creationId="{18BD841A-F568-105F-866D-05FF073BB723}"/>
          </ac:spMkLst>
        </pc:spChg>
        <pc:spChg chg="del mod">
          <ac:chgData name="Dann Bleeker Pedersen" userId="34252400-a232-4440-8831-8cadcf57ce35" providerId="ADAL" clId="{5D18C0C2-102A-4970-B33C-1D15BE2F2270}" dt="2026-07-11T17:08:05.599" v="1024"/>
          <ac:spMkLst>
            <pc:docMk/>
            <pc:sldMk cId="3868029881" sldId="502"/>
            <ac:spMk id="14" creationId="{EF7C9107-50C0-7DBD-4AF6-1E53520F827C}"/>
          </ac:spMkLst>
        </pc:spChg>
        <pc:spChg chg="del mod">
          <ac:chgData name="Dann Bleeker Pedersen" userId="34252400-a232-4440-8831-8cadcf57ce35" providerId="ADAL" clId="{5D18C0C2-102A-4970-B33C-1D15BE2F2270}" dt="2026-07-11T17:08:05.598" v="1021"/>
          <ac:spMkLst>
            <pc:docMk/>
            <pc:sldMk cId="3868029881" sldId="502"/>
            <ac:spMk id="15" creationId="{50ECC532-FED3-B1E5-9A7E-5E0A0F382301}"/>
          </ac:spMkLst>
        </pc:spChg>
        <pc:spChg chg="del mod">
          <ac:chgData name="Dann Bleeker Pedersen" userId="34252400-a232-4440-8831-8cadcf57ce35" providerId="ADAL" clId="{5D18C0C2-102A-4970-B33C-1D15BE2F2270}" dt="2026-07-11T17:08:05.595" v="1018"/>
          <ac:spMkLst>
            <pc:docMk/>
            <pc:sldMk cId="3868029881" sldId="502"/>
            <ac:spMk id="16" creationId="{E078667D-665B-63DE-D82A-0FDF764EA7A8}"/>
          </ac:spMkLst>
        </pc:spChg>
        <pc:spChg chg="del">
          <ac:chgData name="Dann Bleeker Pedersen" userId="34252400-a232-4440-8831-8cadcf57ce35" providerId="ADAL" clId="{5D18C0C2-102A-4970-B33C-1D15BE2F2270}" dt="2026-07-11T17:08:05.601" v="1029"/>
          <ac:spMkLst>
            <pc:docMk/>
            <pc:sldMk cId="3868029881" sldId="502"/>
            <ac:spMk id="17" creationId="{96FB64FF-01E8-DD07-21BB-1CE22CBA76FC}"/>
          </ac:spMkLst>
        </pc:spChg>
        <pc:spChg chg="del">
          <ac:chgData name="Dann Bleeker Pedersen" userId="34252400-a232-4440-8831-8cadcf57ce35" providerId="ADAL" clId="{5D18C0C2-102A-4970-B33C-1D15BE2F2270}" dt="2026-07-11T17:08:05.610" v="1047"/>
          <ac:spMkLst>
            <pc:docMk/>
            <pc:sldMk cId="3868029881" sldId="502"/>
            <ac:spMk id="18" creationId="{78D4580B-A9C6-382A-11A3-AC54746AF30D}"/>
          </ac:spMkLst>
        </pc:spChg>
        <pc:spChg chg="del">
          <ac:chgData name="Dann Bleeker Pedersen" userId="34252400-a232-4440-8831-8cadcf57ce35" providerId="ADAL" clId="{5D18C0C2-102A-4970-B33C-1D15BE2F2270}" dt="2026-07-11T17:08:05.603" v="1031"/>
          <ac:spMkLst>
            <pc:docMk/>
            <pc:sldMk cId="3868029881" sldId="502"/>
            <ac:spMk id="19" creationId="{9BE2C06F-EDC5-03F3-DC56-59EA98CCADFA}"/>
          </ac:spMkLst>
        </pc:spChg>
        <pc:spChg chg="del">
          <ac:chgData name="Dann Bleeker Pedersen" userId="34252400-a232-4440-8831-8cadcf57ce35" providerId="ADAL" clId="{5D18C0C2-102A-4970-B33C-1D15BE2F2270}" dt="2026-07-11T17:08:05.604" v="1033"/>
          <ac:spMkLst>
            <pc:docMk/>
            <pc:sldMk cId="3868029881" sldId="502"/>
            <ac:spMk id="21" creationId="{B948AC8D-EA78-4AC6-726D-334D1EBCC018}"/>
          </ac:spMkLst>
        </pc:spChg>
        <pc:spChg chg="del">
          <ac:chgData name="Dann Bleeker Pedersen" userId="34252400-a232-4440-8831-8cadcf57ce35" providerId="ADAL" clId="{5D18C0C2-102A-4970-B33C-1D15BE2F2270}" dt="2026-07-11T17:08:05.613" v="1051"/>
          <ac:spMkLst>
            <pc:docMk/>
            <pc:sldMk cId="3868029881" sldId="502"/>
            <ac:spMk id="22" creationId="{22447EEC-DFCE-67A2-A0B5-0131B9AAA43A}"/>
          </ac:spMkLst>
        </pc:spChg>
        <pc:spChg chg="del">
          <ac:chgData name="Dann Bleeker Pedersen" userId="34252400-a232-4440-8831-8cadcf57ce35" providerId="ADAL" clId="{5D18C0C2-102A-4970-B33C-1D15BE2F2270}" dt="2026-07-11T17:08:05.615" v="1053"/>
          <ac:spMkLst>
            <pc:docMk/>
            <pc:sldMk cId="3868029881" sldId="502"/>
            <ac:spMk id="23" creationId="{5BC24447-313E-FBDA-D5B2-03B5E276CF5C}"/>
          </ac:spMkLst>
        </pc:spChg>
        <pc:spChg chg="del">
          <ac:chgData name="Dann Bleeker Pedersen" userId="34252400-a232-4440-8831-8cadcf57ce35" providerId="ADAL" clId="{5D18C0C2-102A-4970-B33C-1D15BE2F2270}" dt="2026-07-11T17:08:05.604" v="1035"/>
          <ac:spMkLst>
            <pc:docMk/>
            <pc:sldMk cId="3868029881" sldId="502"/>
            <ac:spMk id="24" creationId="{0023BE1B-04E3-8BF5-1545-9BA06A89E370}"/>
          </ac:spMkLst>
        </pc:spChg>
        <pc:spChg chg="del">
          <ac:chgData name="Dann Bleeker Pedersen" userId="34252400-a232-4440-8831-8cadcf57ce35" providerId="ADAL" clId="{5D18C0C2-102A-4970-B33C-1D15BE2F2270}" dt="2026-07-11T17:08:05.616" v="1055"/>
          <ac:spMkLst>
            <pc:docMk/>
            <pc:sldMk cId="3868029881" sldId="502"/>
            <ac:spMk id="25" creationId="{FE1FF6E6-AB2E-B807-E7A1-E66993C76B96}"/>
          </ac:spMkLst>
        </pc:spChg>
        <pc:spChg chg="del">
          <ac:chgData name="Dann Bleeker Pedersen" userId="34252400-a232-4440-8831-8cadcf57ce35" providerId="ADAL" clId="{5D18C0C2-102A-4970-B33C-1D15BE2F2270}" dt="2026-07-11T17:08:05.617" v="1059"/>
          <ac:spMkLst>
            <pc:docMk/>
            <pc:sldMk cId="3868029881" sldId="502"/>
            <ac:spMk id="27" creationId="{80B8F93E-7C5C-D6C3-EB4A-1656A1E20C14}"/>
          </ac:spMkLst>
        </pc:spChg>
        <pc:spChg chg="del">
          <ac:chgData name="Dann Bleeker Pedersen" userId="34252400-a232-4440-8831-8cadcf57ce35" providerId="ADAL" clId="{5D18C0C2-102A-4970-B33C-1D15BE2F2270}" dt="2026-07-11T17:08:05.618" v="1061"/>
          <ac:spMkLst>
            <pc:docMk/>
            <pc:sldMk cId="3868029881" sldId="502"/>
            <ac:spMk id="28" creationId="{5D720D18-87F1-A19A-3366-5C328BA7AA3A}"/>
          </ac:spMkLst>
        </pc:spChg>
        <pc:spChg chg="del">
          <ac:chgData name="Dann Bleeker Pedersen" userId="34252400-a232-4440-8831-8cadcf57ce35" providerId="ADAL" clId="{5D18C0C2-102A-4970-B33C-1D15BE2F2270}" dt="2026-07-11T17:08:05.619" v="1065"/>
          <ac:spMkLst>
            <pc:docMk/>
            <pc:sldMk cId="3868029881" sldId="502"/>
            <ac:spMk id="29" creationId="{DEB7C7F5-6EFC-B425-2A91-3C264B38BACE}"/>
          </ac:spMkLst>
        </pc:spChg>
        <pc:spChg chg="add del">
          <ac:chgData name="Dann Bleeker Pedersen" userId="34252400-a232-4440-8831-8cadcf57ce35" providerId="ADAL" clId="{5D18C0C2-102A-4970-B33C-1D15BE2F2270}" dt="2026-07-11T17:08:19.441" v="1069" actId="478"/>
          <ac:spMkLst>
            <pc:docMk/>
            <pc:sldMk cId="3868029881" sldId="502"/>
            <ac:spMk id="34" creationId="{977A8562-7DBB-FCFC-ADF1-89BB3A7EF5F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39" creationId="{F5A8B1BF-0977-30C3-C58D-141FF948AD0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2" creationId="{F17DA4B0-6D51-A70B-B7F5-194E34C9AFA2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5" creationId="{29D4842A-8759-62A6-83EF-FDC7C9F4D9DB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7" creationId="{4B5191FE-ECB7-B4C8-CE56-D1D0728B60A3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49" creationId="{80AF37D2-BD4F-778E-A12F-338D55A78EF6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0" creationId="{0ABF1314-6864-28BE-CF15-901E95562658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1" creationId="{18262CAB-54EE-2BBF-ED04-F25773F6AF37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5" creationId="{02AFB90C-1248-6F95-7911-659EE7DBFA3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58" creationId="{70F4BE29-2063-0E5A-594D-195A88E65FE4}"/>
          </ac:spMkLst>
        </pc:spChg>
        <pc:spChg chg="add mod">
          <ac:chgData name="Dann Bleeker Pedersen" userId="34252400-a232-4440-8831-8cadcf57ce35" providerId="ADAL" clId="{5D18C0C2-102A-4970-B33C-1D15BE2F2270}" dt="2026-07-11T17:08:40.005" v="1071" actId="1076"/>
          <ac:spMkLst>
            <pc:docMk/>
            <pc:sldMk cId="3868029881" sldId="502"/>
            <ac:spMk id="60" creationId="{C11D96E6-FFE6-29A1-73EE-FA36D8326D8B}"/>
          </ac:spMkLst>
        </pc:spChg>
        <pc:graphicFrameChg chg="del">
          <ac:chgData name="Dann Bleeker Pedersen" userId="34252400-a232-4440-8831-8cadcf57ce35" providerId="ADAL" clId="{5D18C0C2-102A-4970-B33C-1D15BE2F2270}" dt="2026-07-11T17:08:05.613" v="1049"/>
          <ac:graphicFrameMkLst>
            <pc:docMk/>
            <pc:sldMk cId="3868029881" sldId="502"/>
            <ac:graphicFrameMk id="20" creationId="{C3937953-BA3D-2F9A-080E-B0138F69FF32}"/>
          </ac:graphicFrameMkLst>
        </pc:graphicFrameChg>
        <pc:graphicFrameChg chg="del">
          <ac:chgData name="Dann Bleeker Pedersen" userId="34252400-a232-4440-8831-8cadcf57ce35" providerId="ADAL" clId="{5D18C0C2-102A-4970-B33C-1D15BE2F2270}" dt="2026-07-11T17:08:05.601" v="1027"/>
          <ac:graphicFrameMkLst>
            <pc:docMk/>
            <pc:sldMk cId="3868029881" sldId="502"/>
            <ac:graphicFrameMk id="32" creationId="{53AAB3C6-8D42-0DFB-01DF-A71D9218419D}"/>
          </ac:graphicFrameMkLst>
        </pc:graphicFrameChg>
        <pc:graphicFrameChg chg="mod">
          <ac:chgData name="Dann Bleeker Pedersen" userId="34252400-a232-4440-8831-8cadcf57ce35" providerId="ADAL" clId="{5D18C0C2-102A-4970-B33C-1D15BE2F2270}" dt="2026-07-11T17:08:05.624" v="1067"/>
          <ac:graphicFrameMkLst>
            <pc:docMk/>
            <pc:sldMk cId="3868029881" sldId="502"/>
            <ac:graphicFrameMk id="33" creationId="{36F215AC-B39D-7AC7-6E0B-E9883557E5D6}"/>
          </ac:graphicFrameMkLst>
        </pc:graphicFrameChg>
        <pc:cxnChg chg="del">
          <ac:chgData name="Dann Bleeker Pedersen" userId="34252400-a232-4440-8831-8cadcf57ce35" providerId="ADAL" clId="{5D18C0C2-102A-4970-B33C-1D15BE2F2270}" dt="2026-07-11T17:08:05.598" v="1023"/>
          <ac:cxnSpMkLst>
            <pc:docMk/>
            <pc:sldMk cId="3868029881" sldId="502"/>
            <ac:cxnSpMk id="9" creationId="{04EB0C22-FCDE-E273-0963-FDC79A326190}"/>
          </ac:cxnSpMkLst>
        </pc:cxnChg>
        <pc:cxnChg chg="del">
          <ac:chgData name="Dann Bleeker Pedersen" userId="34252400-a232-4440-8831-8cadcf57ce35" providerId="ADAL" clId="{5D18C0C2-102A-4970-B33C-1D15BE2F2270}" dt="2026-07-11T17:08:05.596" v="1020"/>
          <ac:cxnSpMkLst>
            <pc:docMk/>
            <pc:sldMk cId="3868029881" sldId="502"/>
            <ac:cxnSpMk id="10" creationId="{CCBD46D5-8658-DD63-1C0C-BA07C021CAAA}"/>
          </ac:cxnSpMkLst>
        </pc:cxnChg>
        <pc:cxnChg chg="del">
          <ac:chgData name="Dann Bleeker Pedersen" userId="34252400-a232-4440-8831-8cadcf57ce35" providerId="ADAL" clId="{5D18C0C2-102A-4970-B33C-1D15BE2F2270}" dt="2026-07-11T17:08:05.594" v="1016"/>
          <ac:cxnSpMkLst>
            <pc:docMk/>
            <pc:sldMk cId="3868029881" sldId="502"/>
            <ac:cxnSpMk id="12" creationId="{42A3A742-71B6-8809-9BA4-B11E3C1B5121}"/>
          </ac:cxnSpMkLst>
        </pc:cxnChg>
        <pc:cxnChg chg="del">
          <ac:chgData name="Dann Bleeker Pedersen" userId="34252400-a232-4440-8831-8cadcf57ce35" providerId="ADAL" clId="{5D18C0C2-102A-4970-B33C-1D15BE2F2270}" dt="2026-07-11T17:08:05.616" v="1057"/>
          <ac:cxnSpMkLst>
            <pc:docMk/>
            <pc:sldMk cId="3868029881" sldId="502"/>
            <ac:cxnSpMk id="26" creationId="{AF87B243-88B2-F6B0-23B1-677F47593ECC}"/>
          </ac:cxnSpMkLst>
        </pc:cxnChg>
        <pc:cxnChg chg="del">
          <ac:chgData name="Dann Bleeker Pedersen" userId="34252400-a232-4440-8831-8cadcf57ce35" providerId="ADAL" clId="{5D18C0C2-102A-4970-B33C-1D15BE2F2270}" dt="2026-07-11T17:08:05.619" v="1063"/>
          <ac:cxnSpMkLst>
            <pc:docMk/>
            <pc:sldMk cId="3868029881" sldId="502"/>
            <ac:cxnSpMk id="30" creationId="{D5017C09-4B90-2AC7-0651-313430C2CADD}"/>
          </ac:cxnSpMkLst>
        </pc:cxnChg>
      </pc:sldChg>
      <pc:sldChg chg="add del">
        <pc:chgData name="Dann Bleeker Pedersen" userId="34252400-a232-4440-8831-8cadcf57ce35" providerId="ADAL" clId="{5D18C0C2-102A-4970-B33C-1D15BE2F2270}" dt="2026-07-11T17:11:51.236" v="1077"/>
        <pc:sldMkLst>
          <pc:docMk/>
          <pc:sldMk cId="61836052" sldId="503"/>
        </pc:sldMkLst>
      </pc:sldChg>
      <pc:sldChg chg="add del">
        <pc:chgData name="Dann Bleeker Pedersen" userId="34252400-a232-4440-8831-8cadcf57ce35" providerId="ADAL" clId="{5D18C0C2-102A-4970-B33C-1D15BE2F2270}" dt="2026-07-11T17:11:52.327" v="1079"/>
        <pc:sldMkLst>
          <pc:docMk/>
          <pc:sldMk cId="1878912103" sldId="504"/>
        </pc:sldMkLst>
      </pc:sldChg>
      <pc:sldChg chg="modSp add mod">
        <pc:chgData name="Dann Bleeker Pedersen" userId="34252400-a232-4440-8831-8cadcf57ce35" providerId="ADAL" clId="{5D18C0C2-102A-4970-B33C-1D15BE2F2270}" dt="2026-07-11T17:12:25.029" v="1135" actId="20577"/>
        <pc:sldMkLst>
          <pc:docMk/>
          <pc:sldMk cId="417760443" sldId="505"/>
        </pc:sldMkLst>
        <pc:spChg chg="mod">
          <ac:chgData name="Dann Bleeker Pedersen" userId="34252400-a232-4440-8831-8cadcf57ce35" providerId="ADAL" clId="{5D18C0C2-102A-4970-B33C-1D15BE2F2270}" dt="2026-07-11T17:12:25.029" v="1135" actId="20577"/>
          <ac:spMkLst>
            <pc:docMk/>
            <pc:sldMk cId="417760443" sldId="505"/>
            <ac:spMk id="3" creationId="{BEFAA4B4-4D9C-4071-B2D3-C4C4D381634B}"/>
          </ac:spMkLst>
        </pc:spChg>
      </pc:sldChg>
      <pc:sldMasterChg chg="modSp mod">
        <pc:chgData name="Dann Bleeker Pedersen" userId="34252400-a232-4440-8831-8cadcf57ce35" providerId="ADAL" clId="{5D18C0C2-102A-4970-B33C-1D15BE2F2270}" dt="2026-07-11T16:57:46.013" v="17"/>
        <pc:sldMasterMkLst>
          <pc:docMk/>
          <pc:sldMasterMk cId="4193522406" sldId="2147483672"/>
        </pc:sldMasterMkLst>
        <pc:spChg chg="mod">
          <ac:chgData name="Dann Bleeker Pedersen" userId="34252400-a232-4440-8831-8cadcf57ce35" providerId="ADAL" clId="{5D18C0C2-102A-4970-B33C-1D15BE2F2270}" dt="2026-07-11T16:57:46.004" v="10" actId="299"/>
          <ac:spMkLst>
            <pc:docMk/>
            <pc:sldMasterMk cId="4193522406" sldId="2147483672"/>
            <ac:spMk id="2" creationId="{00000000-0000-0000-0000-000000000000}"/>
          </ac:spMkLst>
        </pc:spChg>
        <pc:graphicFrameChg chg="mod">
          <ac:chgData name="Dann Bleeker Pedersen" userId="34252400-a232-4440-8831-8cadcf57ce35" providerId="ADAL" clId="{5D18C0C2-102A-4970-B33C-1D15BE2F2270}" dt="2026-07-11T16:57:46.013" v="17"/>
          <ac:graphicFrameMkLst>
            <pc:docMk/>
            <pc:sldMasterMk cId="4193522406" sldId="2147483672"/>
            <ac:graphicFrameMk id="4" creationId="{A02C86C9-571B-405E-B4E7-76EC4DF9E845}"/>
          </ac:graphicFrameMkLst>
        </pc:graphicFrameChg>
      </pc:sldMasterChg>
      <pc:sldMasterChg chg="add addSldLayout modSldLayout">
        <pc:chgData name="Dann Bleeker Pedersen" userId="34252400-a232-4440-8831-8cadcf57ce35" providerId="ADAL" clId="{5D18C0C2-102A-4970-B33C-1D15BE2F2270}" dt="2026-07-11T17:10:44.850" v="1074"/>
        <pc:sldMasterMkLst>
          <pc:docMk/>
          <pc:sldMasterMk cId="4193522406" sldId="2147483681"/>
        </pc:sldMasterMkLst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450474835" sldId="2147483682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001822029" sldId="2147483683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356590983" sldId="2147483684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509829800" sldId="2147483685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1452599284" sldId="2147483686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2708253470" sldId="2147483687"/>
          </pc:sldLayoutMkLst>
        </pc:sldLayoutChg>
        <pc:sldLayoutChg chg="add mod">
          <pc:chgData name="Dann Bleeker Pedersen" userId="34252400-a232-4440-8831-8cadcf57ce35" providerId="ADAL" clId="{5D18C0C2-102A-4970-B33C-1D15BE2F2270}" dt="2026-07-11T17:10:44.850" v="1074"/>
          <pc:sldLayoutMkLst>
            <pc:docMk/>
            <pc:sldMasterMk cId="4193522406" sldId="2147483681"/>
            <pc:sldLayoutMk cId="4157829473" sldId="214748368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83524141363863E-2"/>
          <c:y val="0.15824915824915825"/>
          <c:w val="0.94823295171727229"/>
          <c:h val="0.73316498316498313"/>
        </c:manualLayout>
      </c:layout>
      <c:barChart>
        <c:barDir val="col"/>
        <c:grouping val="stacked"/>
        <c:varyColors val="0"/>
        <c:ser>
          <c:idx val="0"/>
          <c:order val="0"/>
          <c:spPr>
            <a:pattFill prst="ltDnDiag">
              <a:fgClr>
                <a:srgbClr val="000000"/>
              </a:fgClr>
              <a:bgClr>
                <a:srgbClr val="FFFFFF"/>
              </a:bgClr>
            </a:patt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3164983164983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57-4CF2-A64C-ADDA3FFEF9A7}"/>
                </c:ext>
              </c:extLst>
            </c:dLbl>
            <c:dLbl>
              <c:idx val="1"/>
              <c:layout>
                <c:manualLayout>
                  <c:x val="0"/>
                  <c:y val="-0.32744107744107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57-4CF2-A64C-ADDA3FFEF9A7}"/>
                </c:ext>
              </c:extLst>
            </c:dLbl>
            <c:dLbl>
              <c:idx val="2"/>
              <c:layout>
                <c:manualLayout>
                  <c:x val="0"/>
                  <c:y val="-0.416666666666666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Verdana"/>
                      <a:ea typeface="+mn-ea"/>
                      <a:cs typeface="+mn-cs"/>
                      <a:sym typeface="Verdana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D57-4CF2-A64C-ADDA3FFEF9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5</c:v>
                </c:pt>
                <c:pt idx="1">
                  <c:v>5.3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57-4CF2-A64C-ADDA3FFEF9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8565168"/>
        <c:axId val="1"/>
      </c:barChart>
      <c:catAx>
        <c:axId val="638565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38565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382CA3-B560-47CD-BD48-FD4E0CDC82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6" name="ButtomBox">
            <a:extLst>
              <a:ext uri="{FF2B5EF4-FFF2-40B4-BE49-F238E27FC236}">
                <a16:creationId xmlns:a16="http://schemas.microsoft.com/office/drawing/2014/main" id="{20C3E9AD-F95D-4473-9224-8E95F8E16FDE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61B3A22-D2E3-4FF5-9BC6-8836E60A3E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pPr algn="ctr"/>
            <a:fld id="{8BBE9EC4-8F44-4CF0-8A4B-61B019A15D23}" type="datetime2">
              <a:rPr lang="da-DK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16FE313-A64B-45DA-93DD-8853BE49D3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20031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601436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31520" y="3961233"/>
            <a:ext cx="5852160" cy="512833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8" name="ButtomBox">
            <a:extLst>
              <a:ext uri="{FF2B5EF4-FFF2-40B4-BE49-F238E27FC236}">
                <a16:creationId xmlns:a16="http://schemas.microsoft.com/office/drawing/2014/main" id="{21F0A814-4AFB-440A-ADE7-8DA651D80146}"/>
              </a:ext>
            </a:extLst>
          </p:cNvPr>
          <p:cNvSpPr/>
          <p:nvPr/>
        </p:nvSpPr>
        <p:spPr>
          <a:xfrm>
            <a:off x="1693" y="9263774"/>
            <a:ext cx="7313507" cy="33742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2013BECE-8686-4CF2-9CF7-BEDFA13EA131}"/>
              </a:ext>
            </a:extLst>
          </p:cNvPr>
          <p:cNvSpPr txBox="1">
            <a:spLocks/>
          </p:cNvSpPr>
          <p:nvPr/>
        </p:nvSpPr>
        <p:spPr>
          <a:xfrm>
            <a:off x="1690" y="9263774"/>
            <a:ext cx="1244426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defPPr>
              <a:defRPr lang="da-DK"/>
            </a:defPPr>
            <a:lvl1pPr marL="0" algn="r" defTabSz="914400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BBE9EC4-8F44-4CF0-8A4B-61B019A15D23}" type="datetime2">
              <a:rPr lang="da-DK" sz="8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1. juli 2026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50959-0822-4B85-A9C9-0D67932E7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5279" y="9263774"/>
            <a:ext cx="3169920" cy="337426"/>
          </a:xfrm>
          <a:prstGeom prst="rect">
            <a:avLst/>
          </a:prstGeom>
        </p:spPr>
        <p:txBody>
          <a:bodyPr vert="horz" lIns="96661" tIns="48331" rIns="96661" bIns="48331" rtlCol="0" anchor="ctr"/>
          <a:lstStyle>
            <a:lvl1pPr algn="r">
              <a:defRPr sz="1300"/>
            </a:lvl1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uktureretSundFornuft.dk | </a:t>
            </a:r>
            <a:fld id="{536E8740-708A-4D06-8D78-DA6656316D8B}" type="slidenum">
              <a:rPr lang="en-US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25017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17938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358775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538163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719138" indent="0" algn="l" defTabSz="914400" rtl="0" eaLnBrk="1" latinLnBrk="0" hangingPunct="1">
      <a:defRPr sz="10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/>
          <a:lstStyle/>
          <a:p>
            <a:fld id="{7AF83CC3-55FA-48C5-A62B-7CCA4DCD15F3}" type="slidenum">
              <a:rPr lang="da-DK" smtClean="0"/>
              <a:t>1</a:t>
            </a:fld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A38A97-1FBF-4B12-9FE6-3C6F44F5D2F5}"/>
              </a:ext>
            </a:extLst>
          </p:cNvPr>
          <p:cNvSpPr>
            <a:spLocks noGrp="1"/>
          </p:cNvSpPr>
          <p:nvPr>
            <p:ph type="dt" idx="1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/>
          <a:lstStyle/>
          <a:p>
            <a:fld id="{4F45CBB0-A475-4DA6-A327-E9FE87BB0949}" type="datetime2">
              <a:rPr lang="da-DK" smtClean="0"/>
              <a:t>11. juli 20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4418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590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9829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59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708253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829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2450474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1822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268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7" r:id="rId4"/>
    <p:sldLayoutId id="2147483674" r:id="rId5"/>
    <p:sldLayoutId id="2147483678" r:id="rId6"/>
    <p:sldLayoutId id="214748368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1634" y="6546761"/>
            <a:ext cx="1910366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52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tags" Target="../tags/tag17.xml"/><Relationship Id="rId21" Type="http://schemas.openxmlformats.org/officeDocument/2006/relationships/oleObject" Target="../embeddings/oleObject6.bin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chart" Target="../charts/chart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oleObject" Target="../embeddings/oleObject7.bin"/><Relationship Id="rId5" Type="http://schemas.openxmlformats.org/officeDocument/2006/relationships/tags" Target="../tags/tag38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366485-B60E-424B-A5E8-D8D1745B03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949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9" imgH="409" progId="TCLayout.ActiveDocument.1">
                  <p:embed/>
                </p:oleObj>
              </mc:Choice>
              <mc:Fallback>
                <p:oleObj name="think-cell Slide" r:id="rId5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366485-B60E-424B-A5E8-D8D1745B0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06C20D-D23D-48CD-AE8D-4D5CA9400C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0F8534B-CCA8-4A2C-9A0E-A0613E6956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atus pr. 20XX-XX-XX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469AD6-8E34-4AA2-8874-827559293A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91440"/>
          <a:lstStyle/>
          <a:p>
            <a:r>
              <a:rPr lang="en-US" dirty="0"/>
              <a:t>[ </a:t>
            </a:r>
            <a:r>
              <a:rPr lang="en-US" dirty="0" err="1"/>
              <a:t>Projektnavn</a:t>
            </a:r>
            <a:r>
              <a:rPr lang="en-US" dirty="0"/>
              <a:t> ]</a:t>
            </a:r>
          </a:p>
        </p:txBody>
      </p:sp>
    </p:spTree>
    <p:extLst>
      <p:ext uri="{BB962C8B-B14F-4D97-AF65-F5344CB8AC3E}">
        <p14:creationId xmlns:p14="http://schemas.microsoft.com/office/powerpoint/2010/main" val="542153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C1D0C-9889-4426-B1A5-D1525434E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FAA4B4-4D9C-4071-B2D3-C4C4D38163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document is a template for a portfolio and project status report, giving a simple and fast way to build a one-page overview of status, KPIs and an accompanying roadmap of activities.</a:t>
            </a:r>
          </a:p>
          <a:p>
            <a:r>
              <a:rPr lang="en-US" dirty="0"/>
              <a:t>Use what makes sense in your specific use cas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CDBF-5222-474E-ABC9-94EF8ACF4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7760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C04764-C227-690A-5265-762155F682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43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C04764-C227-690A-5265-762155F68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748DAAA-173D-BD33-DD92-23B299DCB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Status for [ program ], [ måned 20XX 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E026C-F03F-38D1-B2D5-20A8F5DD6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3</a:t>
            </a:fld>
            <a:endParaRPr lang="da-DK" dirty="0"/>
          </a:p>
        </p:txBody>
      </p:sp>
      <p:graphicFrame>
        <p:nvGraphicFramePr>
          <p:cNvPr id="7" name="Pladsholder til indhold 17">
            <a:extLst>
              <a:ext uri="{FF2B5EF4-FFF2-40B4-BE49-F238E27FC236}">
                <a16:creationId xmlns:a16="http://schemas.microsoft.com/office/drawing/2014/main" id="{EE28A147-B997-C6E3-76D6-1DF5A9A89F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7661508"/>
              </p:ext>
            </p:extLst>
          </p:nvPr>
        </p:nvGraphicFramePr>
        <p:xfrm>
          <a:off x="785162" y="1495354"/>
          <a:ext cx="12640604" cy="4507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7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70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8924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70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8924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r>
                        <a:rPr lang="da-DK" sz="1000" b="1" dirty="0"/>
                        <a:t>Projekt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/>
                        <a:t>Status</a:t>
                      </a:r>
                    </a:p>
                  </a:txBody>
                  <a:tcPr marL="0" marR="0" marT="46800" marB="46800"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5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Fremdrift siden sidst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Næste skridt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/>
                        <a:t>Sponso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Tom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0" b="1" dirty="0"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/>
                        <a:t>Tom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da-DK" sz="800" b="1" dirty="0">
                          <a:solidFill>
                            <a:schemeClr val="bg1"/>
                          </a:solidFill>
                        </a:rPr>
                        <a:t>[ navn</a:t>
                      </a:r>
                      <a:r>
                        <a:rPr lang="da-DK" sz="800" b="1" baseline="0" dirty="0">
                          <a:solidFill>
                            <a:schemeClr val="bg1"/>
                          </a:solidFill>
                        </a:rPr>
                        <a:t> på projekt ]</a:t>
                      </a:r>
                      <a:endParaRPr lang="da-DK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da-DK" sz="3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 Fremdrift siden sidst. 1-2 </a:t>
                      </a:r>
                      <a:r>
                        <a:rPr kumimoji="0" lang="da-DK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kumimoji="0" lang="da-DK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2550" indent="-825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æste skridt. 1-2 </a:t>
                      </a:r>
                      <a:r>
                        <a:rPr lang="da-DK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k</a:t>
                      </a: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]</a:t>
                      </a:r>
                    </a:p>
                  </a:txBody>
                  <a:tcPr marL="36000" marR="0" marT="0" marB="0"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Font typeface="+mj-lt"/>
                        <a:buAutoNum type="arabicPeriod"/>
                      </a:pPr>
                      <a:endParaRPr lang="da-DK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da-DK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Navn på sponsor ]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54000"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5400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1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37084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r: [ Indsæt eventuelle noter ]</a:t>
                      </a:r>
                      <a:endParaRPr lang="da-DK" sz="800" dirty="0"/>
                    </a:p>
                  </a:txBody>
                  <a:tcPr marL="36000" marR="3600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8" name="Tekstfelt 2">
            <a:extLst>
              <a:ext uri="{FF2B5EF4-FFF2-40B4-BE49-F238E27FC236}">
                <a16:creationId xmlns:a16="http://schemas.microsoft.com/office/drawing/2014/main" id="{E3275A02-8949-59BC-5361-8DD15AEC1356}"/>
              </a:ext>
            </a:extLst>
          </p:cNvPr>
          <p:cNvSpPr txBox="1"/>
          <p:nvPr/>
        </p:nvSpPr>
        <p:spPr>
          <a:xfrm rot="1900758">
            <a:off x="2663600" y="2975894"/>
            <a:ext cx="624727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200" b="1" dirty="0">
                <a:solidFill>
                  <a:srgbClr val="FF0000"/>
                </a:solidFill>
              </a:rPr>
              <a:t>Bruges til porteføljerapportering</a:t>
            </a:r>
          </a:p>
        </p:txBody>
      </p:sp>
      <p:grpSp>
        <p:nvGrpSpPr>
          <p:cNvPr id="49" name="Group 34">
            <a:extLst>
              <a:ext uri="{FF2B5EF4-FFF2-40B4-BE49-F238E27FC236}">
                <a16:creationId xmlns:a16="http://schemas.microsoft.com/office/drawing/2014/main" id="{F6AFE377-2658-BF9E-DA5B-9C44FA9E1158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1806295"/>
            <a:ext cx="204787" cy="357187"/>
            <a:chOff x="3496" y="2260"/>
            <a:chExt cx="129" cy="225"/>
          </a:xfrm>
        </p:grpSpPr>
        <p:sp>
          <p:nvSpPr>
            <p:cNvPr id="50" name="Rectangle 35">
              <a:extLst>
                <a:ext uri="{FF2B5EF4-FFF2-40B4-BE49-F238E27FC236}">
                  <a16:creationId xmlns:a16="http://schemas.microsoft.com/office/drawing/2014/main" id="{ABA3863A-28A4-873F-E487-A912CB9E2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val 36">
              <a:extLst>
                <a:ext uri="{FF2B5EF4-FFF2-40B4-BE49-F238E27FC236}">
                  <a16:creationId xmlns:a16="http://schemas.microsoft.com/office/drawing/2014/main" id="{B1CD2D97-4B53-4C9C-53D3-AF6C1B4B7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52" name="Oval 37">
              <a:extLst>
                <a:ext uri="{FF2B5EF4-FFF2-40B4-BE49-F238E27FC236}">
                  <a16:creationId xmlns:a16="http://schemas.microsoft.com/office/drawing/2014/main" id="{28B4C702-DB37-8EA8-4823-8E8B6E8DA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38">
              <a:extLst>
                <a:ext uri="{FF2B5EF4-FFF2-40B4-BE49-F238E27FC236}">
                  <a16:creationId xmlns:a16="http://schemas.microsoft.com/office/drawing/2014/main" id="{CA869A47-558C-95FF-17B8-F16E1761A4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Group 34">
            <a:extLst>
              <a:ext uri="{FF2B5EF4-FFF2-40B4-BE49-F238E27FC236}">
                <a16:creationId xmlns:a16="http://schemas.microsoft.com/office/drawing/2014/main" id="{21D2D5E6-818B-5EF6-5C10-E81D77BAE81B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2286059"/>
            <a:ext cx="204787" cy="357187"/>
            <a:chOff x="3496" y="2260"/>
            <a:chExt cx="129" cy="225"/>
          </a:xfrm>
        </p:grpSpPr>
        <p:sp>
          <p:nvSpPr>
            <p:cNvPr id="55" name="Rectangle 35">
              <a:extLst>
                <a:ext uri="{FF2B5EF4-FFF2-40B4-BE49-F238E27FC236}">
                  <a16:creationId xmlns:a16="http://schemas.microsoft.com/office/drawing/2014/main" id="{2B332FBA-C86B-4E68-CB48-53D7D7685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Oval 36">
              <a:extLst>
                <a:ext uri="{FF2B5EF4-FFF2-40B4-BE49-F238E27FC236}">
                  <a16:creationId xmlns:a16="http://schemas.microsoft.com/office/drawing/2014/main" id="{AB333712-1B4C-9A3F-0765-5C31C5D79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57" name="Oval 37">
              <a:extLst>
                <a:ext uri="{FF2B5EF4-FFF2-40B4-BE49-F238E27FC236}">
                  <a16:creationId xmlns:a16="http://schemas.microsoft.com/office/drawing/2014/main" id="{55B57E93-847E-741A-6DD6-CC255BD38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Oval 38">
              <a:extLst>
                <a:ext uri="{FF2B5EF4-FFF2-40B4-BE49-F238E27FC236}">
                  <a16:creationId xmlns:a16="http://schemas.microsoft.com/office/drawing/2014/main" id="{6C57A474-BD7B-923A-0605-991406DFA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9" name="Group 34">
            <a:extLst>
              <a:ext uri="{FF2B5EF4-FFF2-40B4-BE49-F238E27FC236}">
                <a16:creationId xmlns:a16="http://schemas.microsoft.com/office/drawing/2014/main" id="{35338822-441A-3BDC-3819-DD9271DF4FA7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2765823"/>
            <a:ext cx="204787" cy="357187"/>
            <a:chOff x="3496" y="2260"/>
            <a:chExt cx="129" cy="225"/>
          </a:xfrm>
        </p:grpSpPr>
        <p:sp>
          <p:nvSpPr>
            <p:cNvPr id="60" name="Rectangle 35">
              <a:extLst>
                <a:ext uri="{FF2B5EF4-FFF2-40B4-BE49-F238E27FC236}">
                  <a16:creationId xmlns:a16="http://schemas.microsoft.com/office/drawing/2014/main" id="{AC578B90-3626-6764-58C6-FC265D159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Oval 36">
              <a:extLst>
                <a:ext uri="{FF2B5EF4-FFF2-40B4-BE49-F238E27FC236}">
                  <a16:creationId xmlns:a16="http://schemas.microsoft.com/office/drawing/2014/main" id="{2FE1C9BD-F9A7-B84B-4736-1074389FE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62" name="Oval 37">
              <a:extLst>
                <a:ext uri="{FF2B5EF4-FFF2-40B4-BE49-F238E27FC236}">
                  <a16:creationId xmlns:a16="http://schemas.microsoft.com/office/drawing/2014/main" id="{02C13E45-B7B0-81B4-40AD-E16C2E44D6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Oval 38">
              <a:extLst>
                <a:ext uri="{FF2B5EF4-FFF2-40B4-BE49-F238E27FC236}">
                  <a16:creationId xmlns:a16="http://schemas.microsoft.com/office/drawing/2014/main" id="{F2ED755A-5736-0B85-50BF-E74D0376BC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4" name="Group 34">
            <a:extLst>
              <a:ext uri="{FF2B5EF4-FFF2-40B4-BE49-F238E27FC236}">
                <a16:creationId xmlns:a16="http://schemas.microsoft.com/office/drawing/2014/main" id="{80EC8A64-9CCF-33FA-E195-AF831A10E563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3245587"/>
            <a:ext cx="204787" cy="357187"/>
            <a:chOff x="3496" y="2260"/>
            <a:chExt cx="129" cy="225"/>
          </a:xfrm>
        </p:grpSpPr>
        <p:sp>
          <p:nvSpPr>
            <p:cNvPr id="65" name="Rectangle 35">
              <a:extLst>
                <a:ext uri="{FF2B5EF4-FFF2-40B4-BE49-F238E27FC236}">
                  <a16:creationId xmlns:a16="http://schemas.microsoft.com/office/drawing/2014/main" id="{41AA3286-8F93-E573-A4D6-19542334BC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Oval 36">
              <a:extLst>
                <a:ext uri="{FF2B5EF4-FFF2-40B4-BE49-F238E27FC236}">
                  <a16:creationId xmlns:a16="http://schemas.microsoft.com/office/drawing/2014/main" id="{7E4930E3-66BB-5EB8-01D1-C8B9B0B01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67" name="Oval 37">
              <a:extLst>
                <a:ext uri="{FF2B5EF4-FFF2-40B4-BE49-F238E27FC236}">
                  <a16:creationId xmlns:a16="http://schemas.microsoft.com/office/drawing/2014/main" id="{AE2A4DF9-B09D-3FE0-9105-CDF2EC15B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Oval 38">
              <a:extLst>
                <a:ext uri="{FF2B5EF4-FFF2-40B4-BE49-F238E27FC236}">
                  <a16:creationId xmlns:a16="http://schemas.microsoft.com/office/drawing/2014/main" id="{AB8A5412-8B61-D65F-1C1B-20B1BC7AF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Group 34">
            <a:extLst>
              <a:ext uri="{FF2B5EF4-FFF2-40B4-BE49-F238E27FC236}">
                <a16:creationId xmlns:a16="http://schemas.microsoft.com/office/drawing/2014/main" id="{A622C505-6E01-10A0-2E1C-0161D73A6706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3725351"/>
            <a:ext cx="204787" cy="357187"/>
            <a:chOff x="3496" y="2260"/>
            <a:chExt cx="129" cy="225"/>
          </a:xfrm>
        </p:grpSpPr>
        <p:sp>
          <p:nvSpPr>
            <p:cNvPr id="70" name="Rectangle 35">
              <a:extLst>
                <a:ext uri="{FF2B5EF4-FFF2-40B4-BE49-F238E27FC236}">
                  <a16:creationId xmlns:a16="http://schemas.microsoft.com/office/drawing/2014/main" id="{D87AB7E3-990A-D359-EED7-E4BE72ECB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Oval 36">
              <a:extLst>
                <a:ext uri="{FF2B5EF4-FFF2-40B4-BE49-F238E27FC236}">
                  <a16:creationId xmlns:a16="http://schemas.microsoft.com/office/drawing/2014/main" id="{7EEFA073-E1BB-48F1-432D-8B04EF750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72" name="Oval 37">
              <a:extLst>
                <a:ext uri="{FF2B5EF4-FFF2-40B4-BE49-F238E27FC236}">
                  <a16:creationId xmlns:a16="http://schemas.microsoft.com/office/drawing/2014/main" id="{C6308112-8623-3CD8-083B-781ABEAA8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Oval 38">
              <a:extLst>
                <a:ext uri="{FF2B5EF4-FFF2-40B4-BE49-F238E27FC236}">
                  <a16:creationId xmlns:a16="http://schemas.microsoft.com/office/drawing/2014/main" id="{8716EB42-74F1-5787-797E-FFCD6A04F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4" name="Group 34">
            <a:extLst>
              <a:ext uri="{FF2B5EF4-FFF2-40B4-BE49-F238E27FC236}">
                <a16:creationId xmlns:a16="http://schemas.microsoft.com/office/drawing/2014/main" id="{9A1F7483-4B2C-048D-E3DC-9DA630592515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4205115"/>
            <a:ext cx="204787" cy="357187"/>
            <a:chOff x="3496" y="2260"/>
            <a:chExt cx="129" cy="225"/>
          </a:xfrm>
        </p:grpSpPr>
        <p:sp>
          <p:nvSpPr>
            <p:cNvPr id="75" name="Rectangle 35">
              <a:extLst>
                <a:ext uri="{FF2B5EF4-FFF2-40B4-BE49-F238E27FC236}">
                  <a16:creationId xmlns:a16="http://schemas.microsoft.com/office/drawing/2014/main" id="{A8D85C37-284F-A381-A231-EE101FD4A2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Oval 36">
              <a:extLst>
                <a:ext uri="{FF2B5EF4-FFF2-40B4-BE49-F238E27FC236}">
                  <a16:creationId xmlns:a16="http://schemas.microsoft.com/office/drawing/2014/main" id="{138FE32E-CB45-4715-52F2-F377499F0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77" name="Oval 37">
              <a:extLst>
                <a:ext uri="{FF2B5EF4-FFF2-40B4-BE49-F238E27FC236}">
                  <a16:creationId xmlns:a16="http://schemas.microsoft.com/office/drawing/2014/main" id="{E9ADC7B3-4F7B-6196-ECB2-95BE7C2C4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38">
              <a:extLst>
                <a:ext uri="{FF2B5EF4-FFF2-40B4-BE49-F238E27FC236}">
                  <a16:creationId xmlns:a16="http://schemas.microsoft.com/office/drawing/2014/main" id="{9B411E96-D8B7-3570-6F46-3959F86E60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" name="Group 34">
            <a:extLst>
              <a:ext uri="{FF2B5EF4-FFF2-40B4-BE49-F238E27FC236}">
                <a16:creationId xmlns:a16="http://schemas.microsoft.com/office/drawing/2014/main" id="{CB1DABB5-1705-9675-A17F-75A13E32BB08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4684879"/>
            <a:ext cx="204787" cy="357187"/>
            <a:chOff x="3496" y="2260"/>
            <a:chExt cx="129" cy="225"/>
          </a:xfrm>
        </p:grpSpPr>
        <p:sp>
          <p:nvSpPr>
            <p:cNvPr id="80" name="Rectangle 35">
              <a:extLst>
                <a:ext uri="{FF2B5EF4-FFF2-40B4-BE49-F238E27FC236}">
                  <a16:creationId xmlns:a16="http://schemas.microsoft.com/office/drawing/2014/main" id="{A770B547-5CE5-B810-A11D-7FDB823A8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Oval 36">
              <a:extLst>
                <a:ext uri="{FF2B5EF4-FFF2-40B4-BE49-F238E27FC236}">
                  <a16:creationId xmlns:a16="http://schemas.microsoft.com/office/drawing/2014/main" id="{47EBB599-1AF2-7ED8-F0E4-B10EEB90A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82" name="Oval 37">
              <a:extLst>
                <a:ext uri="{FF2B5EF4-FFF2-40B4-BE49-F238E27FC236}">
                  <a16:creationId xmlns:a16="http://schemas.microsoft.com/office/drawing/2014/main" id="{B8292B35-753F-2799-371A-4280C1ABF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Oval 38">
              <a:extLst>
                <a:ext uri="{FF2B5EF4-FFF2-40B4-BE49-F238E27FC236}">
                  <a16:creationId xmlns:a16="http://schemas.microsoft.com/office/drawing/2014/main" id="{C84E1B3C-BFFA-302C-4479-50741EA64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4" name="Group 34">
            <a:extLst>
              <a:ext uri="{FF2B5EF4-FFF2-40B4-BE49-F238E27FC236}">
                <a16:creationId xmlns:a16="http://schemas.microsoft.com/office/drawing/2014/main" id="{925A024F-BD33-041A-3B45-378F87F7373C}"/>
              </a:ext>
            </a:extLst>
          </p:cNvPr>
          <p:cNvGrpSpPr>
            <a:grpSpLocks/>
          </p:cNvGrpSpPr>
          <p:nvPr/>
        </p:nvGrpSpPr>
        <p:grpSpPr bwMode="auto">
          <a:xfrm>
            <a:off x="2085244" y="5164645"/>
            <a:ext cx="204787" cy="357187"/>
            <a:chOff x="3496" y="2260"/>
            <a:chExt cx="129" cy="225"/>
          </a:xfrm>
        </p:grpSpPr>
        <p:sp>
          <p:nvSpPr>
            <p:cNvPr id="85" name="Rectangle 35">
              <a:extLst>
                <a:ext uri="{FF2B5EF4-FFF2-40B4-BE49-F238E27FC236}">
                  <a16:creationId xmlns:a16="http://schemas.microsoft.com/office/drawing/2014/main" id="{56B3B2DA-7112-F317-CD7D-9A4A312B8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2260"/>
              <a:ext cx="129" cy="2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BBBF76B1-38BD-AE1E-2B8E-51673E0267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277"/>
              <a:ext cx="74" cy="5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D194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FFF1EA5E-CD57-1FC6-379F-56574BFAE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346"/>
              <a:ext cx="74" cy="5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Oval 38">
              <a:extLst>
                <a:ext uri="{FF2B5EF4-FFF2-40B4-BE49-F238E27FC236}">
                  <a16:creationId xmlns:a16="http://schemas.microsoft.com/office/drawing/2014/main" id="{86F38457-5206-421B-ED85-273968710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4" y="2415"/>
              <a:ext cx="74" cy="56"/>
            </a:xfrm>
            <a:prstGeom prst="ellipse">
              <a:avLst/>
            </a:prstGeom>
            <a:solidFill>
              <a:srgbClr val="7FA745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360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230CC99-4C1A-53FE-3F41-42D194E1FAC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42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3" progId="TCLayout.ActiveDocument.1">
                  <p:embed/>
                </p:oleObj>
              </mc:Choice>
              <mc:Fallback>
                <p:oleObj name="think-cell Slide" r:id="rId21" imgW="404" imgH="4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30CC99-4C1A-53FE-3F41-42D194E1F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9534CE-12F3-2AC9-3F72-31111F627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Statusrapport: [ Projektnavn, uge X 20XX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F0436F-A6E2-B929-75FE-CC9DFC49E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28" name="Text Box 9"/>
          <p:cNvSpPr txBox="1">
            <a:spLocks noChangeArrowheads="1"/>
          </p:cNvSpPr>
          <p:nvPr/>
        </p:nvSpPr>
        <p:spPr bwMode="auto">
          <a:xfrm>
            <a:off x="717551" y="1614913"/>
            <a:ext cx="3986211" cy="9016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tIns="36000" rIns="900000" bIns="36000"/>
          <a:lstStyle/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Kopier succeskriterierne ind fra projekt </a:t>
            </a:r>
            <a:r>
              <a:rPr lang="da-DK" sz="800" kern="0" dirty="0" err="1">
                <a:solidFill>
                  <a:srgbClr val="000000"/>
                </a:solidFill>
              </a:rPr>
              <a:t>scope</a:t>
            </a:r>
            <a:r>
              <a:rPr lang="da-DK" sz="800" kern="0" dirty="0">
                <a:solidFill>
                  <a:srgbClr val="000000"/>
                </a:solidFill>
              </a:rPr>
              <a:t> dokumentet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Statuslampen bruges til at vise om succeskriterierne kan opnås. Gul er at der er fare på </a:t>
            </a:r>
            <a:r>
              <a:rPr lang="da-DK" sz="800" kern="0" dirty="0" err="1">
                <a:solidFill>
                  <a:srgbClr val="000000"/>
                </a:solidFill>
              </a:rPr>
              <a:t>fære</a:t>
            </a:r>
            <a:r>
              <a:rPr lang="da-DK" sz="800" kern="0" dirty="0">
                <a:solidFill>
                  <a:srgbClr val="000000"/>
                </a:solidFill>
              </a:rPr>
              <a:t>, rød at det ikke er opnåeligt ]</a:t>
            </a:r>
          </a:p>
        </p:txBody>
      </p:sp>
      <p:sp>
        <p:nvSpPr>
          <p:cNvPr id="29" name="Text Box 10"/>
          <p:cNvSpPr txBox="1">
            <a:spLocks noChangeArrowheads="1"/>
          </p:cNvSpPr>
          <p:nvPr/>
        </p:nvSpPr>
        <p:spPr bwMode="auto">
          <a:xfrm>
            <a:off x="717549" y="1458014"/>
            <a:ext cx="2741615" cy="156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da-DK" sz="1000" b="1" dirty="0">
                <a:solidFill>
                  <a:srgbClr val="000000"/>
                </a:solidFill>
              </a:rPr>
              <a:t>Succeskriterier</a:t>
            </a:r>
          </a:p>
        </p:txBody>
      </p:sp>
      <p:sp>
        <p:nvSpPr>
          <p:cNvPr id="30" name="Text Box 16"/>
          <p:cNvSpPr txBox="1">
            <a:spLocks noChangeArrowheads="1"/>
          </p:cNvSpPr>
          <p:nvPr/>
        </p:nvSpPr>
        <p:spPr bwMode="auto">
          <a:xfrm>
            <a:off x="712082" y="2818073"/>
            <a:ext cx="3984625" cy="11525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72000" tIns="36000" rIns="72000" bIns="36000"/>
          <a:lstStyle/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Angiv de vigtigste ting siden sidst. Der skal være mindst tre ting. Der skal også kommenteres på </a:t>
            </a:r>
            <a:r>
              <a:rPr lang="da-DK" sz="800" kern="0" dirty="0" err="1">
                <a:solidFill>
                  <a:srgbClr val="000000"/>
                </a:solidFill>
              </a:rPr>
              <a:t>KPI’er</a:t>
            </a:r>
            <a:r>
              <a:rPr lang="da-DK" sz="800" kern="0" dirty="0">
                <a:solidFill>
                  <a:srgbClr val="000000"/>
                </a:solidFill>
              </a:rPr>
              <a:t>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Start gerne sætninger med et udsagnsord: (Afleveret, Gennemført, Implementeret, Analyseret ) og gør det gerne slutprodukt orienteret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endParaRPr lang="da-DK" sz="800" kern="0" dirty="0">
              <a:solidFill>
                <a:srgbClr val="000000"/>
              </a:solidFill>
            </a:endParaRP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En </a:t>
            </a:r>
            <a:r>
              <a:rPr lang="da-DK" sz="800" kern="0" dirty="0" err="1">
                <a:solidFill>
                  <a:srgbClr val="000000"/>
                </a:solidFill>
              </a:rPr>
              <a:t>bullet</a:t>
            </a:r>
            <a:r>
              <a:rPr lang="da-DK" sz="800" kern="0" dirty="0">
                <a:solidFill>
                  <a:srgbClr val="000000"/>
                </a:solidFill>
              </a:rPr>
              <a:t> markeres med fed. Denne bliver brugt i en konsolideret rapportering – tænk over hvordan den formuleres ]</a:t>
            </a:r>
          </a:p>
        </p:txBody>
      </p:sp>
      <p:sp>
        <p:nvSpPr>
          <p:cNvPr id="31" name="Text Box 17"/>
          <p:cNvSpPr txBox="1">
            <a:spLocks noChangeArrowheads="1"/>
          </p:cNvSpPr>
          <p:nvPr/>
        </p:nvSpPr>
        <p:spPr bwMode="auto">
          <a:xfrm>
            <a:off x="719137" y="2661155"/>
            <a:ext cx="3904033" cy="166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eaLnBrk="0" hangingPunct="0"/>
            <a:r>
              <a:rPr lang="da-DK" dirty="0"/>
              <a:t>Fremdrift siden sidst ([ navn på måned])</a:t>
            </a: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708206" y="4054358"/>
            <a:ext cx="3610502" cy="138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eaLnBrk="0" hangingPunct="0"/>
            <a:r>
              <a:rPr lang="da-DK" dirty="0"/>
              <a:t>Næste skridt ([ navn på måned])</a:t>
            </a:r>
          </a:p>
        </p:txBody>
      </p:sp>
      <p:sp>
        <p:nvSpPr>
          <p:cNvPr id="33" name="Text Box 24"/>
          <p:cNvSpPr txBox="1">
            <a:spLocks noChangeArrowheads="1"/>
          </p:cNvSpPr>
          <p:nvPr/>
        </p:nvSpPr>
        <p:spPr bwMode="auto">
          <a:xfrm>
            <a:off x="717551" y="5356988"/>
            <a:ext cx="2910176" cy="177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eaLnBrk="0" hangingPunct="0"/>
            <a:r>
              <a:rPr lang="da-DK" dirty="0" err="1"/>
              <a:t>Issues</a:t>
            </a:r>
            <a:endParaRPr lang="da-DK" dirty="0"/>
          </a:p>
        </p:txBody>
      </p:sp>
      <p:sp>
        <p:nvSpPr>
          <p:cNvPr id="34" name="Text Box 26"/>
          <p:cNvSpPr txBox="1">
            <a:spLocks noChangeArrowheads="1"/>
          </p:cNvSpPr>
          <p:nvPr/>
        </p:nvSpPr>
        <p:spPr bwMode="auto">
          <a:xfrm>
            <a:off x="708206" y="5511084"/>
            <a:ext cx="3984625" cy="7262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72000" tIns="36000" rIns="72000" bIns="36000"/>
          <a:lstStyle/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Hvad er de kritiske ting der skal opmærksomhed på i øjeblikket og hvor der eventuelt er behov for hjælp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Fremhæv her også afhængigheder til andre projekter hvis der er problemer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Dette er risici der er indtruffet ]</a:t>
            </a:r>
          </a:p>
        </p:txBody>
      </p:sp>
      <p:grpSp>
        <p:nvGrpSpPr>
          <p:cNvPr id="35" name="Group 13"/>
          <p:cNvGrpSpPr>
            <a:grpSpLocks/>
          </p:cNvGrpSpPr>
          <p:nvPr/>
        </p:nvGrpSpPr>
        <p:grpSpPr bwMode="auto">
          <a:xfrm>
            <a:off x="4318708" y="1614913"/>
            <a:ext cx="385056" cy="901650"/>
            <a:chOff x="2632" y="1168"/>
            <a:chExt cx="129" cy="326"/>
          </a:xfrm>
        </p:grpSpPr>
        <p:sp>
          <p:nvSpPr>
            <p:cNvPr id="36" name="Rectangle 1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632" y="1168"/>
              <a:ext cx="129" cy="326"/>
            </a:xfrm>
            <a:prstGeom prst="rect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37" name="Oval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660" y="1183"/>
              <a:ext cx="74" cy="81"/>
            </a:xfrm>
            <a:prstGeom prst="ellipse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38" name="Oval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660" y="1283"/>
              <a:ext cx="74" cy="81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39" name="Oval 1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660" y="1383"/>
              <a:ext cx="74" cy="81"/>
            </a:xfrm>
            <a:prstGeom prst="ellipse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Text Box 16"/>
          <p:cNvSpPr txBox="1">
            <a:spLocks noChangeArrowheads="1"/>
          </p:cNvSpPr>
          <p:nvPr/>
        </p:nvSpPr>
        <p:spPr bwMode="auto">
          <a:xfrm>
            <a:off x="708206" y="4213063"/>
            <a:ext cx="3984625" cy="1061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72000" tIns="36000" rIns="72000" bIns="36000"/>
          <a:lstStyle/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Hvilke væsentlige slutprodukter skal der være i de næste 14 dage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Minimum tre ting ]</a:t>
            </a: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endParaRPr lang="da-DK" sz="800" kern="0" dirty="0">
              <a:solidFill>
                <a:srgbClr val="000000"/>
              </a:solidFill>
            </a:endParaRPr>
          </a:p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En </a:t>
            </a:r>
            <a:r>
              <a:rPr lang="da-DK" sz="800" kern="0" dirty="0" err="1">
                <a:solidFill>
                  <a:srgbClr val="000000"/>
                </a:solidFill>
              </a:rPr>
              <a:t>bullet</a:t>
            </a:r>
            <a:r>
              <a:rPr lang="da-DK" sz="800" kern="0" dirty="0">
                <a:solidFill>
                  <a:srgbClr val="000000"/>
                </a:solidFill>
              </a:rPr>
              <a:t> markeres med fed. Denne bliver brugt i en konsolideret rapportering – tænk over hvordan den formuleres ]</a:t>
            </a:r>
          </a:p>
        </p:txBody>
      </p:sp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4899790" y="1614913"/>
            <a:ext cx="3986211" cy="9016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endParaRPr lang="da-DK" sz="800" kern="0" dirty="0">
              <a:solidFill>
                <a:srgbClr val="000000"/>
              </a:solidFill>
            </a:endParaRPr>
          </a:p>
        </p:txBody>
      </p:sp>
      <p:sp>
        <p:nvSpPr>
          <p:cNvPr id="42" name="Text Box 10"/>
          <p:cNvSpPr txBox="1">
            <a:spLocks noChangeArrowheads="1"/>
          </p:cNvSpPr>
          <p:nvPr/>
        </p:nvSpPr>
        <p:spPr bwMode="auto">
          <a:xfrm>
            <a:off x="4899788" y="1458014"/>
            <a:ext cx="2741615" cy="156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da-DK" sz="1000" b="1" dirty="0">
                <a:solidFill>
                  <a:srgbClr val="000000"/>
                </a:solidFill>
              </a:rPr>
              <a:t>Stamdata</a:t>
            </a:r>
          </a:p>
        </p:txBody>
      </p:sp>
      <p:graphicFrame>
        <p:nvGraphicFramePr>
          <p:cNvPr id="43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637809"/>
              </p:ext>
            </p:extLst>
          </p:nvPr>
        </p:nvGraphicFramePr>
        <p:xfrm>
          <a:off x="4961224" y="1675575"/>
          <a:ext cx="3865325" cy="615184"/>
        </p:xfrm>
        <a:graphic>
          <a:graphicData uri="http://schemas.openxmlformats.org/drawingml/2006/table">
            <a:tbl>
              <a:tblPr bandRow="1"/>
              <a:tblGrid>
                <a:gridCol w="949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Projektnav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Projektnavn</a:t>
                      </a:r>
                      <a:r>
                        <a:rPr lang="da-DK" sz="800" baseline="0" dirty="0"/>
                        <a:t>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S</a:t>
                      </a:r>
                      <a:r>
                        <a:rPr lang="da-DK" sz="800" baseline="0" dirty="0"/>
                        <a:t>ponsor: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Navn ]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Proces-ejer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Navn på proces og proces-ejer ]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Projektleder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Navn ]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4" name="Text Box 9"/>
          <p:cNvSpPr txBox="1">
            <a:spLocks noChangeArrowheads="1"/>
          </p:cNvSpPr>
          <p:nvPr/>
        </p:nvSpPr>
        <p:spPr bwMode="auto">
          <a:xfrm>
            <a:off x="4899787" y="2827722"/>
            <a:ext cx="3986211" cy="24467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endParaRPr lang="da-DK" sz="800" kern="0" dirty="0">
              <a:solidFill>
                <a:srgbClr val="000000"/>
              </a:solidFill>
            </a:endParaRPr>
          </a:p>
        </p:txBody>
      </p:sp>
      <p:sp>
        <p:nvSpPr>
          <p:cNvPr id="45" name="Text Box 10"/>
          <p:cNvSpPr txBox="1">
            <a:spLocks noChangeArrowheads="1"/>
          </p:cNvSpPr>
          <p:nvPr/>
        </p:nvSpPr>
        <p:spPr bwMode="auto">
          <a:xfrm>
            <a:off x="4899785" y="2661155"/>
            <a:ext cx="2741615" cy="156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da-DK" sz="1000" b="1" dirty="0">
                <a:solidFill>
                  <a:srgbClr val="000000"/>
                </a:solidFill>
              </a:rPr>
              <a:t>Vigtige milepæle</a:t>
            </a:r>
          </a:p>
        </p:txBody>
      </p:sp>
      <p:graphicFrame>
        <p:nvGraphicFramePr>
          <p:cNvPr id="46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047256"/>
              </p:ext>
            </p:extLst>
          </p:nvPr>
        </p:nvGraphicFramePr>
        <p:xfrm>
          <a:off x="4967686" y="2891235"/>
          <a:ext cx="3852000" cy="2306940"/>
        </p:xfrm>
        <a:graphic>
          <a:graphicData uri="http://schemas.openxmlformats.org/drawingml/2006/table">
            <a:tbl>
              <a:tblPr firstRow="1" bandRow="1"/>
              <a:tblGrid>
                <a:gridCol w="298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>
                          <a:solidFill>
                            <a:sysClr val="windowText" lastClr="000000"/>
                          </a:solidFill>
                        </a:rPr>
                        <a:t>Milepæl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da-DK" sz="800" dirty="0">
                          <a:solidFill>
                            <a:sysClr val="windowText" lastClr="000000"/>
                          </a:solidFill>
                        </a:rPr>
                        <a:t>Dato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b="1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37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da-DK" sz="800" dirty="0"/>
                        <a:t>[ Indsæt vigtigste milepæle fra</a:t>
                      </a:r>
                      <a:r>
                        <a:rPr lang="da-DK" sz="800" baseline="0" dirty="0"/>
                        <a:t> </a:t>
                      </a:r>
                      <a:r>
                        <a:rPr lang="da-DK" sz="800" baseline="0" dirty="0" err="1"/>
                        <a:t>scope</a:t>
                      </a:r>
                      <a:r>
                        <a:rPr lang="da-DK" sz="800" baseline="0" dirty="0"/>
                        <a:t> dokument ]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r"/>
                      <a:r>
                        <a:rPr lang="da-DK" sz="800" dirty="0"/>
                        <a:t>[ Dato ]</a:t>
                      </a:r>
                    </a:p>
                  </a:txBody>
                  <a:tcPr marL="18000" marR="1800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Wingdings" pitchFamily="2" charset="2"/>
                        </a:rPr>
                        <a:t></a:t>
                      </a:r>
                      <a:endParaRPr lang="da-DK" sz="800" dirty="0"/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0B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7" name="Text Box 24"/>
          <p:cNvSpPr txBox="1">
            <a:spLocks noChangeArrowheads="1"/>
          </p:cNvSpPr>
          <p:nvPr/>
        </p:nvSpPr>
        <p:spPr bwMode="auto">
          <a:xfrm>
            <a:off x="4910719" y="5356988"/>
            <a:ext cx="2910176" cy="177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eaLnBrk="0" hangingPunct="0"/>
            <a:r>
              <a:rPr lang="da-DK" dirty="0"/>
              <a:t>TOP3 Risik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6C87F3-388A-3AD9-A780-E305C9258559}"/>
              </a:ext>
            </a:extLst>
          </p:cNvPr>
          <p:cNvSpPr/>
          <p:nvPr/>
        </p:nvSpPr>
        <p:spPr>
          <a:xfrm>
            <a:off x="9082021" y="1614913"/>
            <a:ext cx="2910176" cy="46223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/>
          </a:p>
        </p:txBody>
      </p:sp>
      <p:sp>
        <p:nvSpPr>
          <p:cNvPr id="48" name="Text Box 26"/>
          <p:cNvSpPr txBox="1">
            <a:spLocks noChangeArrowheads="1"/>
          </p:cNvSpPr>
          <p:nvPr/>
        </p:nvSpPr>
        <p:spPr bwMode="auto">
          <a:xfrm>
            <a:off x="4901374" y="5511084"/>
            <a:ext cx="3984625" cy="7262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72000" tIns="36000" rIns="72000" bIns="36000"/>
          <a:lstStyle/>
          <a:p>
            <a:pPr marL="180975" indent="-180975" eaLnBrk="0" fontAlgn="auto" hangingPunct="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da-DK" sz="800" kern="0" dirty="0">
                <a:solidFill>
                  <a:srgbClr val="000000"/>
                </a:solidFill>
              </a:rPr>
              <a:t>[ Angiv TOP3 risiko der IKKE er indtruffet. ]</a:t>
            </a:r>
          </a:p>
        </p:txBody>
      </p:sp>
      <p:grpSp>
        <p:nvGrpSpPr>
          <p:cNvPr id="54" name="Group 13"/>
          <p:cNvGrpSpPr>
            <a:grpSpLocks/>
          </p:cNvGrpSpPr>
          <p:nvPr/>
        </p:nvGrpSpPr>
        <p:grpSpPr bwMode="auto">
          <a:xfrm>
            <a:off x="3934800" y="1614913"/>
            <a:ext cx="385056" cy="901650"/>
            <a:chOff x="2632" y="1168"/>
            <a:chExt cx="129" cy="326"/>
          </a:xfrm>
        </p:grpSpPr>
        <p:sp>
          <p:nvSpPr>
            <p:cNvPr id="5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632" y="1168"/>
              <a:ext cx="129" cy="326"/>
            </a:xfrm>
            <a:prstGeom prst="rect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56" name="Oval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660" y="1183"/>
              <a:ext cx="74" cy="81"/>
            </a:xfrm>
            <a:prstGeom prst="ellipse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57" name="Oval 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660" y="1283"/>
              <a:ext cx="74" cy="81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  <p:sp>
          <p:nvSpPr>
            <p:cNvPr id="58" name="Oval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660" y="1383"/>
              <a:ext cx="74" cy="81"/>
            </a:xfrm>
            <a:prstGeom prst="ellipse">
              <a:avLst/>
            </a:prstGeom>
            <a:noFill/>
            <a:ln w="9525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a-DK" sz="1800" kern="0">
                <a:solidFill>
                  <a:srgbClr val="000000"/>
                </a:solidFill>
              </a:endParaRPr>
            </a:p>
          </p:txBody>
        </p:sp>
      </p:grpSp>
      <p:sp>
        <p:nvSpPr>
          <p:cNvPr id="5" name="Rektangel 3"/>
          <p:cNvSpPr/>
          <p:nvPr/>
        </p:nvSpPr>
        <p:spPr bwMode="auto">
          <a:xfrm>
            <a:off x="3934798" y="1412776"/>
            <a:ext cx="383908" cy="202137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800" b="0" i="0" u="none" cap="none" normalizeH="0" baseline="0" dirty="0">
                <a:ln>
                  <a:noFill/>
                </a:ln>
                <a:effectLst/>
                <a:latin typeface="Verdana" pitchFamily="34" charset="0"/>
              </a:rPr>
              <a:t>Nu</a:t>
            </a:r>
          </a:p>
        </p:txBody>
      </p:sp>
      <p:sp>
        <p:nvSpPr>
          <p:cNvPr id="59" name="Rektangel 58"/>
          <p:cNvSpPr/>
          <p:nvPr/>
        </p:nvSpPr>
        <p:spPr bwMode="auto">
          <a:xfrm>
            <a:off x="4318707" y="1412776"/>
            <a:ext cx="385056" cy="202137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800" dirty="0"/>
              <a:t>Sidst</a:t>
            </a:r>
          </a:p>
        </p:txBody>
      </p:sp>
      <p:grpSp>
        <p:nvGrpSpPr>
          <p:cNvPr id="60" name="Group 64"/>
          <p:cNvGrpSpPr>
            <a:grpSpLocks/>
          </p:cNvGrpSpPr>
          <p:nvPr/>
        </p:nvGrpSpPr>
        <p:grpSpPr bwMode="auto">
          <a:xfrm>
            <a:off x="9162613" y="1713437"/>
            <a:ext cx="2816690" cy="352301"/>
            <a:chOff x="1136" y="2530"/>
            <a:chExt cx="2656" cy="358"/>
          </a:xfrm>
        </p:grpSpPr>
        <p:sp>
          <p:nvSpPr>
            <p:cNvPr id="61" name="Rectangle 6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36" y="2530"/>
              <a:ext cx="171" cy="35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a-DK">
                <a:solidFill>
                  <a:schemeClr val="bg1"/>
                </a:solidFill>
              </a:endParaRPr>
            </a:p>
          </p:txBody>
        </p:sp>
        <p:grpSp>
          <p:nvGrpSpPr>
            <p:cNvPr id="62" name="MoonLegend3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86" y="2564"/>
              <a:ext cx="86" cy="80"/>
              <a:chOff x="4495" y="897"/>
              <a:chExt cx="160" cy="160"/>
            </a:xfrm>
          </p:grpSpPr>
          <p:sp>
            <p:nvSpPr>
              <p:cNvPr id="72" name="Oval 6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Arc 6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160 h 43200"/>
                  <a:gd name="T4" fmla="*/ 0 w 21600"/>
                  <a:gd name="T5" fmla="*/ 8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rgbClr val="ED194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3" name="MoonLegend4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186" y="2668"/>
              <a:ext cx="86" cy="79"/>
              <a:chOff x="4495" y="1198"/>
              <a:chExt cx="160" cy="160"/>
            </a:xfrm>
          </p:grpSpPr>
          <p:sp>
            <p:nvSpPr>
              <p:cNvPr id="70" name="Oval 70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Arc 71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80 w 43200"/>
                  <a:gd name="T1" fmla="*/ 0 h 43200"/>
                  <a:gd name="T2" fmla="*/ 0 w 43200"/>
                  <a:gd name="T3" fmla="*/ 80 h 43200"/>
                  <a:gd name="T4" fmla="*/ 80 w 43200"/>
                  <a:gd name="T5" fmla="*/ 8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4" name="MoonLegend5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1186" y="2772"/>
              <a:ext cx="86" cy="80"/>
              <a:chOff x="4495" y="1440"/>
              <a:chExt cx="160" cy="160"/>
            </a:xfrm>
          </p:grpSpPr>
          <p:sp>
            <p:nvSpPr>
              <p:cNvPr id="68" name="Oval 73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Oval 74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4DB84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5" name="Legend3"/>
            <p:cNvSpPr>
              <a:spLocks noChangeArrowheads="1"/>
            </p:cNvSpPr>
            <p:nvPr/>
          </p:nvSpPr>
          <p:spPr bwMode="auto">
            <a:xfrm>
              <a:off x="1342" y="2557"/>
              <a:ext cx="2077" cy="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268288" indent="-268288">
                <a:lnSpc>
                  <a:spcPct val="105000"/>
                </a:lnSpc>
                <a:spcBef>
                  <a:spcPct val="20000"/>
                </a:spcBef>
                <a:buSzPct val="90000"/>
              </a:pP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Målsætning</a:t>
              </a:r>
              <a:r>
                <a:rPr lang="en-US" sz="800" dirty="0">
                  <a:solidFill>
                    <a:schemeClr val="bg1"/>
                  </a:solidFill>
                  <a:latin typeface="Verdana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uopnåelig</a:t>
              </a:r>
              <a:r>
                <a:rPr lang="en-US" sz="800" dirty="0">
                  <a:solidFill>
                    <a:schemeClr val="bg1"/>
                  </a:solidFill>
                  <a:latin typeface="Verdana" pitchFamily="34" charset="0"/>
                </a:rPr>
                <a:t> –handling </a:t>
              </a: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påkrævet</a:t>
              </a:r>
              <a:endParaRPr lang="en-US" sz="800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66" name="Legend4"/>
            <p:cNvSpPr>
              <a:spLocks noChangeArrowheads="1"/>
            </p:cNvSpPr>
            <p:nvPr/>
          </p:nvSpPr>
          <p:spPr bwMode="auto">
            <a:xfrm>
              <a:off x="1342" y="2660"/>
              <a:ext cx="2450" cy="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268288" indent="-268288">
                <a:lnSpc>
                  <a:spcPct val="105000"/>
                </a:lnSpc>
                <a:spcBef>
                  <a:spcPct val="20000"/>
                </a:spcBef>
                <a:buSzPct val="90000"/>
              </a:pP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Målsætning</a:t>
              </a:r>
              <a:r>
                <a:rPr lang="en-US" sz="800" dirty="0">
                  <a:solidFill>
                    <a:schemeClr val="bg1"/>
                  </a:solidFill>
                  <a:latin typeface="Verdana" pitchFamily="34" charset="0"/>
                </a:rPr>
                <a:t> i fare – </a:t>
              </a: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korrigende</a:t>
              </a:r>
              <a:r>
                <a:rPr lang="en-US" sz="800" dirty="0">
                  <a:solidFill>
                    <a:schemeClr val="bg1"/>
                  </a:solidFill>
                  <a:latin typeface="Verdana" pitchFamily="34" charset="0"/>
                </a:rPr>
                <a:t> handling </a:t>
              </a:r>
              <a:r>
                <a:rPr lang="en-US" sz="800" dirty="0" err="1">
                  <a:solidFill>
                    <a:schemeClr val="bg1"/>
                  </a:solidFill>
                  <a:latin typeface="Verdana" pitchFamily="34" charset="0"/>
                </a:rPr>
                <a:t>besluttet</a:t>
              </a:r>
              <a:r>
                <a:rPr lang="en-US" sz="800" dirty="0">
                  <a:solidFill>
                    <a:schemeClr val="bg1"/>
                  </a:solidFill>
                  <a:latin typeface="Verdana" pitchFamily="34" charset="0"/>
                </a:rPr>
                <a:t> </a:t>
              </a:r>
            </a:p>
          </p:txBody>
        </p:sp>
        <p:sp>
          <p:nvSpPr>
            <p:cNvPr id="67" name="Legend5"/>
            <p:cNvSpPr>
              <a:spLocks noChangeArrowheads="1"/>
            </p:cNvSpPr>
            <p:nvPr/>
          </p:nvSpPr>
          <p:spPr bwMode="auto">
            <a:xfrm>
              <a:off x="1342" y="2765"/>
              <a:ext cx="1025" cy="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268288" indent="-268288">
                <a:lnSpc>
                  <a:spcPct val="105000"/>
                </a:lnSpc>
                <a:spcBef>
                  <a:spcPct val="20000"/>
                </a:spcBef>
                <a:buSzPct val="90000"/>
              </a:pPr>
              <a:r>
                <a:rPr lang="en-US" sz="800">
                  <a:solidFill>
                    <a:schemeClr val="bg1"/>
                  </a:solidFill>
                  <a:latin typeface="Verdana" pitchFamily="34" charset="0"/>
                </a:rPr>
                <a:t>Målsætning realistis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994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EE3959E4-EC66-7971-FAC8-615E734010D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829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3959E4-EC66-7971-FAC8-615E7340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5E193B-99B8-5D5F-8707-DED498BC9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Brug denne side ved to </a:t>
            </a:r>
            <a:r>
              <a:rPr lang="da-DK" dirty="0" err="1"/>
              <a:t>KPI’er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51A1E9-3AAA-A111-83C4-61E3C0C5F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4" name="Rektangel 20">
            <a:extLst>
              <a:ext uri="{FF2B5EF4-FFF2-40B4-BE49-F238E27FC236}">
                <a16:creationId xmlns:a16="http://schemas.microsoft.com/office/drawing/2014/main" id="{8A45A0EE-DC43-AC36-855A-C2E4CD7088E6}"/>
              </a:ext>
            </a:extLst>
          </p:cNvPr>
          <p:cNvSpPr/>
          <p:nvPr/>
        </p:nvSpPr>
        <p:spPr bwMode="auto">
          <a:xfrm>
            <a:off x="6016625" y="1568450"/>
            <a:ext cx="370841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da-DK" sz="1000" baseline="0" dirty="0"/>
              <a:t>[ Tekst ]</a:t>
            </a:r>
          </a:p>
        </p:txBody>
      </p:sp>
      <p:sp>
        <p:nvSpPr>
          <p:cNvPr id="5" name="Rektangel 1">
            <a:extLst>
              <a:ext uri="{FF2B5EF4-FFF2-40B4-BE49-F238E27FC236}">
                <a16:creationId xmlns:a16="http://schemas.microsoft.com/office/drawing/2014/main" id="{10091CFB-916B-B3B3-5CF7-8DEB4B5E802A}"/>
              </a:ext>
            </a:extLst>
          </p:cNvPr>
          <p:cNvSpPr/>
          <p:nvPr/>
        </p:nvSpPr>
        <p:spPr bwMode="auto">
          <a:xfrm>
            <a:off x="6016625" y="1382713"/>
            <a:ext cx="3708412" cy="4394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r>
              <a:rPr lang="da-DK" sz="1200" dirty="0">
                <a:solidFill>
                  <a:schemeClr val="bg1"/>
                </a:solidFill>
              </a:rPr>
              <a:t>[ God sigende overskrift med en konklusion i sig ]</a:t>
            </a:r>
          </a:p>
        </p:txBody>
      </p:sp>
      <p:sp>
        <p:nvSpPr>
          <p:cNvPr id="6" name="Tekstboks 3">
            <a:extLst>
              <a:ext uri="{FF2B5EF4-FFF2-40B4-BE49-F238E27FC236}">
                <a16:creationId xmlns:a16="http://schemas.microsoft.com/office/drawing/2014/main" id="{440F04B0-5582-A61E-0330-7D2FDC83C83F}"/>
              </a:ext>
            </a:extLst>
          </p:cNvPr>
          <p:cNvSpPr txBox="1"/>
          <p:nvPr/>
        </p:nvSpPr>
        <p:spPr>
          <a:xfrm>
            <a:off x="6038850" y="5872163"/>
            <a:ext cx="284431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7" name="Rektangel 97">
            <a:extLst>
              <a:ext uri="{FF2B5EF4-FFF2-40B4-BE49-F238E27FC236}">
                <a16:creationId xmlns:a16="http://schemas.microsoft.com/office/drawing/2014/main" id="{7B297095-606C-D2E7-BCBA-E8A3A8485D08}"/>
              </a:ext>
            </a:extLst>
          </p:cNvPr>
          <p:cNvSpPr/>
          <p:nvPr/>
        </p:nvSpPr>
        <p:spPr bwMode="auto">
          <a:xfrm>
            <a:off x="1984375" y="1568450"/>
            <a:ext cx="370841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da-DK" sz="1000" dirty="0"/>
              <a:t>[ Tekst ]</a:t>
            </a:r>
            <a:endParaRPr lang="da-DK" sz="1000" baseline="0" dirty="0"/>
          </a:p>
        </p:txBody>
      </p:sp>
      <p:sp>
        <p:nvSpPr>
          <p:cNvPr id="8" name="Rektangel 98">
            <a:extLst>
              <a:ext uri="{FF2B5EF4-FFF2-40B4-BE49-F238E27FC236}">
                <a16:creationId xmlns:a16="http://schemas.microsoft.com/office/drawing/2014/main" id="{488A2350-D0EF-8C90-E193-C994D4FE05BB}"/>
              </a:ext>
            </a:extLst>
          </p:cNvPr>
          <p:cNvSpPr/>
          <p:nvPr/>
        </p:nvSpPr>
        <p:spPr bwMode="auto">
          <a:xfrm>
            <a:off x="1984375" y="1382713"/>
            <a:ext cx="3708412" cy="4394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r>
              <a:rPr lang="da-DK" sz="1200" dirty="0">
                <a:solidFill>
                  <a:schemeClr val="bg1"/>
                </a:solidFill>
              </a:rPr>
              <a:t>[ God sigende overskrift med en konklusion i sig ]</a:t>
            </a:r>
          </a:p>
        </p:txBody>
      </p:sp>
      <p:cxnSp>
        <p:nvCxnSpPr>
          <p:cNvPr id="9" name="Lige forbindelse 14354">
            <a:extLst>
              <a:ext uri="{FF2B5EF4-FFF2-40B4-BE49-F238E27FC236}">
                <a16:creationId xmlns:a16="http://schemas.microsoft.com/office/drawing/2014/main" id="{02BE6E41-46E4-E0A9-A78B-D03A22DA6A9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2951163" y="2660650"/>
            <a:ext cx="447675" cy="35560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Lige forbindelse 14355">
            <a:extLst>
              <a:ext uri="{FF2B5EF4-FFF2-40B4-BE49-F238E27FC236}">
                <a16:creationId xmlns:a16="http://schemas.microsoft.com/office/drawing/2014/main" id="{85D80E34-35A0-A2F0-A855-499DBC47DF6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959225" y="2324100"/>
            <a:ext cx="447675" cy="33655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51CF0938-0D78-3D16-3B77-2217B73F935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7355985"/>
              </p:ext>
            </p:extLst>
          </p:nvPr>
        </p:nvGraphicFramePr>
        <p:xfrm>
          <a:off x="2084388" y="2025650"/>
          <a:ext cx="3189287" cy="18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12" name="Lige forbindelse 14353">
            <a:extLst>
              <a:ext uri="{FF2B5EF4-FFF2-40B4-BE49-F238E27FC236}">
                <a16:creationId xmlns:a16="http://schemas.microsoft.com/office/drawing/2014/main" id="{160CA1AC-3397-5B19-A5F1-A32A2B52BC3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670175" y="1914525"/>
            <a:ext cx="2016125" cy="69215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Rektangel 15">
            <a:extLst>
              <a:ext uri="{FF2B5EF4-FFF2-40B4-BE49-F238E27FC236}">
                <a16:creationId xmlns:a16="http://schemas.microsoft.com/office/drawing/2014/main" id="{B41F4085-E077-F689-8E10-A41E67F04D0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17775" y="3744913"/>
            <a:ext cx="304800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BB26EAA4-AA98-4A0A-B8EF-CC8AD49B933A}" type="datetime'2''''''''0''''''''''''''''1''''''4'''''''''''''''">
              <a:rPr lang="en-US" sz="900"/>
              <a:pPr algn="ctr"/>
              <a:t>2014</a:t>
            </a:fld>
            <a:endParaRPr kumimoji="0" lang="da-DK" sz="900" strike="noStrike" cap="none" normalizeH="0" dirty="0" err="1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4" name="Rektangel 25">
            <a:extLst>
              <a:ext uri="{FF2B5EF4-FFF2-40B4-BE49-F238E27FC236}">
                <a16:creationId xmlns:a16="http://schemas.microsoft.com/office/drawing/2014/main" id="{C8CA1E0A-6892-DFC0-7155-A83B5865758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525838" y="3744913"/>
            <a:ext cx="304800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86857E14-76D1-488B-8129-DC0B3CCD3229}" type="datetime'''''2''''''''0''''''''''''''''''''''''''1''''''''''''5'''">
              <a:rPr lang="en-US" sz="900"/>
              <a:pPr algn="ctr"/>
              <a:t>2015</a:t>
            </a:fld>
            <a:endParaRPr kumimoji="0" lang="da-DK" sz="900" strike="noStrike" cap="none" normalizeH="0" dirty="0" err="1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5" name="Rektangel 14335">
            <a:extLst>
              <a:ext uri="{FF2B5EF4-FFF2-40B4-BE49-F238E27FC236}">
                <a16:creationId xmlns:a16="http://schemas.microsoft.com/office/drawing/2014/main" id="{15ECA724-84A6-1197-DCEE-86B92CED3CA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533900" y="3744913"/>
            <a:ext cx="304800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fld id="{7C1B074A-E719-4CFE-A4A3-89AFD755A6AD}" type="datetime'''''''2''''''''0''''''''''''''''''1''''''''6'''''''''''''''">
              <a:rPr lang="en-US" sz="900"/>
              <a:pPr algn="ctr"/>
              <a:t>2016</a:t>
            </a:fld>
            <a:endParaRPr kumimoji="0" lang="da-DK" sz="900" strike="noStrike" cap="none" normalizeH="0" dirty="0" err="1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6" name="Ellipse 14352">
            <a:extLst>
              <a:ext uri="{FF2B5EF4-FFF2-40B4-BE49-F238E27FC236}">
                <a16:creationId xmlns:a16="http://schemas.microsoft.com/office/drawing/2014/main" id="{39F386B6-DEA5-58FF-0A78-E4B16331379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230563" y="2124075"/>
            <a:ext cx="896938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fld id="{BDBA1B6C-8472-4422-B41C-C790A722B2E5}" type="datetime'''+''''''4''''''''''''''''''''1''''''''''''''''''''''''%'''">
              <a:rPr lang="en-US" sz="1400" b="1"/>
              <a:pPr algn="ctr">
                <a:lnSpc>
                  <a:spcPct val="90000"/>
                </a:lnSpc>
              </a:pPr>
              <a:t>+41%</a:t>
            </a:fld>
            <a:endParaRPr kumimoji="0" lang="da-DK" sz="1400" b="1" strike="noStrike" cap="none" normalizeH="0" dirty="0" err="1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" name="Tekstboks 14347">
            <a:extLst>
              <a:ext uri="{FF2B5EF4-FFF2-40B4-BE49-F238E27FC236}">
                <a16:creationId xmlns:a16="http://schemas.microsoft.com/office/drawing/2014/main" id="{3BCA067D-E1FE-30C4-F346-D0BD8323423F}"/>
              </a:ext>
            </a:extLst>
          </p:cNvPr>
          <p:cNvSpPr txBox="1"/>
          <p:nvPr/>
        </p:nvSpPr>
        <p:spPr>
          <a:xfrm>
            <a:off x="2127250" y="1893888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18" name="Tekstboks 114">
            <a:extLst>
              <a:ext uri="{FF2B5EF4-FFF2-40B4-BE49-F238E27FC236}">
                <a16:creationId xmlns:a16="http://schemas.microsoft.com/office/drawing/2014/main" id="{E39B1E0C-31B1-D3F8-6CFD-CA2F38F79E90}"/>
              </a:ext>
            </a:extLst>
          </p:cNvPr>
          <p:cNvSpPr txBox="1"/>
          <p:nvPr/>
        </p:nvSpPr>
        <p:spPr>
          <a:xfrm>
            <a:off x="2019300" y="5875338"/>
            <a:ext cx="284431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19" name="Tekstfelt 55">
            <a:extLst>
              <a:ext uri="{FF2B5EF4-FFF2-40B4-BE49-F238E27FC236}">
                <a16:creationId xmlns:a16="http://schemas.microsoft.com/office/drawing/2014/main" id="{7B4AB9BA-2FC8-F706-DF58-C8FFDF353005}"/>
              </a:ext>
            </a:extLst>
          </p:cNvPr>
          <p:cNvSpPr txBox="1"/>
          <p:nvPr/>
        </p:nvSpPr>
        <p:spPr>
          <a:xfrm rot="19634656">
            <a:off x="2301875" y="2592388"/>
            <a:ext cx="2721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600" b="1" dirty="0">
                <a:solidFill>
                  <a:srgbClr val="FF0000"/>
                </a:solidFill>
              </a:rPr>
              <a:t>Dummy</a:t>
            </a:r>
          </a:p>
        </p:txBody>
      </p:sp>
      <p:graphicFrame>
        <p:nvGraphicFramePr>
          <p:cNvPr id="20" name="Objekt 30">
            <a:extLst>
              <a:ext uri="{FF2B5EF4-FFF2-40B4-BE49-F238E27FC236}">
                <a16:creationId xmlns:a16="http://schemas.microsoft.com/office/drawing/2014/main" id="{2DB22F87-76DC-9D8C-D71F-EFDAAC7346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5589145"/>
              </p:ext>
            </p:extLst>
          </p:nvPr>
        </p:nvGraphicFramePr>
        <p:xfrm>
          <a:off x="6254750" y="1971675"/>
          <a:ext cx="3228992" cy="1809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" r:id="rId14" imgW="3229028" imgH="1809668" progId="MSGraph.Chart.8">
                  <p:embed followColorScheme="full"/>
                </p:oleObj>
              </mc:Choice>
              <mc:Fallback>
                <p:oleObj name="Diagram" r:id="rId14" imgW="3229028" imgH="1809668" progId="MSGraph.Chart.8">
                  <p:embed followColorScheme="full"/>
                  <p:pic>
                    <p:nvPicPr>
                      <p:cNvPr id="20" name="Objekt 30">
                        <a:extLst>
                          <a:ext uri="{FF2B5EF4-FFF2-40B4-BE49-F238E27FC236}">
                            <a16:creationId xmlns:a16="http://schemas.microsoft.com/office/drawing/2014/main" id="{2DB22F87-76DC-9D8C-D71F-EFDAAC7346F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54750" y="1971675"/>
                        <a:ext cx="3228992" cy="18098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kstfelt 55">
            <a:extLst>
              <a:ext uri="{FF2B5EF4-FFF2-40B4-BE49-F238E27FC236}">
                <a16:creationId xmlns:a16="http://schemas.microsoft.com/office/drawing/2014/main" id="{43C5DEAB-573F-09DF-F9C6-757708FC2524}"/>
              </a:ext>
            </a:extLst>
          </p:cNvPr>
          <p:cNvSpPr txBox="1"/>
          <p:nvPr/>
        </p:nvSpPr>
        <p:spPr>
          <a:xfrm rot="19634656">
            <a:off x="6496050" y="2563813"/>
            <a:ext cx="2721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600" b="1" dirty="0">
                <a:solidFill>
                  <a:srgbClr val="FF0000"/>
                </a:solidFill>
              </a:rPr>
              <a:t>Dummy</a:t>
            </a:r>
          </a:p>
        </p:txBody>
      </p:sp>
      <p:sp>
        <p:nvSpPr>
          <p:cNvPr id="22" name="Tekstboks 14347">
            <a:extLst>
              <a:ext uri="{FF2B5EF4-FFF2-40B4-BE49-F238E27FC236}">
                <a16:creationId xmlns:a16="http://schemas.microsoft.com/office/drawing/2014/main" id="{D081D27D-2E0A-58E9-4C98-BBD0B7D402B5}"/>
              </a:ext>
            </a:extLst>
          </p:cNvPr>
          <p:cNvSpPr txBox="1"/>
          <p:nvPr/>
        </p:nvSpPr>
        <p:spPr>
          <a:xfrm>
            <a:off x="6076950" y="1909763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23" name="Oval 126">
            <a:extLst>
              <a:ext uri="{FF2B5EF4-FFF2-40B4-BE49-F238E27FC236}">
                <a16:creationId xmlns:a16="http://schemas.microsoft.com/office/drawing/2014/main" id="{3AAE8D69-49A8-B518-B3DC-A1565785397B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259888" y="2160588"/>
            <a:ext cx="126000" cy="126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Oval 126">
            <a:extLst>
              <a:ext uri="{FF2B5EF4-FFF2-40B4-BE49-F238E27FC236}">
                <a16:creationId xmlns:a16="http://schemas.microsoft.com/office/drawing/2014/main" id="{5798B459-6AC8-6C63-7DE5-8758ABA48B2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515475" y="2189163"/>
            <a:ext cx="88641" cy="90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Tekstboks 44">
            <a:extLst>
              <a:ext uri="{FF2B5EF4-FFF2-40B4-BE49-F238E27FC236}">
                <a16:creationId xmlns:a16="http://schemas.microsoft.com/office/drawing/2014/main" id="{669ED8AA-FD39-500F-D83B-0F2FEF5EC2A1}"/>
              </a:ext>
            </a:extLst>
          </p:cNvPr>
          <p:cNvSpPr txBox="1"/>
          <p:nvPr/>
        </p:nvSpPr>
        <p:spPr>
          <a:xfrm>
            <a:off x="9167813" y="1889125"/>
            <a:ext cx="5412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1" dirty="0"/>
              <a:t>Status</a:t>
            </a:r>
          </a:p>
          <a:p>
            <a:pPr algn="ctr"/>
            <a:r>
              <a:rPr lang="da-DK" sz="800" b="1" dirty="0"/>
              <a:t>Ift. KPI:</a:t>
            </a:r>
          </a:p>
        </p:txBody>
      </p:sp>
      <p:cxnSp>
        <p:nvCxnSpPr>
          <p:cNvPr id="26" name="Lige forbindelse 40">
            <a:extLst>
              <a:ext uri="{FF2B5EF4-FFF2-40B4-BE49-F238E27FC236}">
                <a16:creationId xmlns:a16="http://schemas.microsoft.com/office/drawing/2014/main" id="{BE66E139-9BA2-F648-2E82-8DBE0168D8A8}"/>
              </a:ext>
            </a:extLst>
          </p:cNvPr>
          <p:cNvCxnSpPr/>
          <p:nvPr/>
        </p:nvCxnSpPr>
        <p:spPr bwMode="auto">
          <a:xfrm>
            <a:off x="9144000" y="2116138"/>
            <a:ext cx="576064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Oval 126">
            <a:extLst>
              <a:ext uri="{FF2B5EF4-FFF2-40B4-BE49-F238E27FC236}">
                <a16:creationId xmlns:a16="http://schemas.microsoft.com/office/drawing/2014/main" id="{E1628208-07CB-5D9D-E19C-E1C1A484D65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5227638" y="2171700"/>
            <a:ext cx="126000" cy="126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Oval 126">
            <a:extLst>
              <a:ext uri="{FF2B5EF4-FFF2-40B4-BE49-F238E27FC236}">
                <a16:creationId xmlns:a16="http://schemas.microsoft.com/office/drawing/2014/main" id="{A4A7E963-E2BB-3E0B-1A37-C70E6E39D1F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5483225" y="2200275"/>
            <a:ext cx="88641" cy="90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ekstboks 44">
            <a:extLst>
              <a:ext uri="{FF2B5EF4-FFF2-40B4-BE49-F238E27FC236}">
                <a16:creationId xmlns:a16="http://schemas.microsoft.com/office/drawing/2014/main" id="{0E8F28C1-946F-82FF-BB41-94EB79B0B35D}"/>
              </a:ext>
            </a:extLst>
          </p:cNvPr>
          <p:cNvSpPr txBox="1"/>
          <p:nvPr/>
        </p:nvSpPr>
        <p:spPr>
          <a:xfrm>
            <a:off x="5135563" y="1900238"/>
            <a:ext cx="5412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1" dirty="0"/>
              <a:t>Status</a:t>
            </a:r>
          </a:p>
          <a:p>
            <a:pPr algn="ctr"/>
            <a:r>
              <a:rPr lang="da-DK" sz="800" b="1" dirty="0"/>
              <a:t>Ift. KPI:</a:t>
            </a:r>
          </a:p>
        </p:txBody>
      </p:sp>
      <p:cxnSp>
        <p:nvCxnSpPr>
          <p:cNvPr id="30" name="Lige forbindelse 44">
            <a:extLst>
              <a:ext uri="{FF2B5EF4-FFF2-40B4-BE49-F238E27FC236}">
                <a16:creationId xmlns:a16="http://schemas.microsoft.com/office/drawing/2014/main" id="{4A07C53A-62DC-681A-66EB-6E077A5FC109}"/>
              </a:ext>
            </a:extLst>
          </p:cNvPr>
          <p:cNvCxnSpPr/>
          <p:nvPr/>
        </p:nvCxnSpPr>
        <p:spPr bwMode="auto">
          <a:xfrm>
            <a:off x="5111750" y="2128838"/>
            <a:ext cx="576064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37300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386B5-E40A-C156-D354-3E1E84F7A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36F215AC-B39D-7AC7-6E0B-E9883557E5D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48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215AC-B39D-7AC7-6E0B-E9883557E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88E6EA-EEEE-4639-EE7E-A1457F1A3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da-DK" dirty="0"/>
              <a:t>Brug denne side ved tre </a:t>
            </a:r>
            <a:r>
              <a:rPr lang="da-DK" dirty="0" err="1"/>
              <a:t>KPI’er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578D29-BC91-7586-1459-1F88614A0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35" name="Rektangel 97">
            <a:extLst>
              <a:ext uri="{FF2B5EF4-FFF2-40B4-BE49-F238E27FC236}">
                <a16:creationId xmlns:a16="http://schemas.microsoft.com/office/drawing/2014/main" id="{01F991B0-841A-F58A-DFEC-3D680EA4E0B6}"/>
              </a:ext>
            </a:extLst>
          </p:cNvPr>
          <p:cNvSpPr/>
          <p:nvPr/>
        </p:nvSpPr>
        <p:spPr bwMode="auto">
          <a:xfrm>
            <a:off x="1998170" y="1708061"/>
            <a:ext cx="2664296" cy="435074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da-DK" sz="1000" dirty="0"/>
              <a:t>[ Tekst ]</a:t>
            </a:r>
            <a:endParaRPr lang="da-DK" sz="1000" baseline="0" dirty="0"/>
          </a:p>
        </p:txBody>
      </p:sp>
      <p:sp>
        <p:nvSpPr>
          <p:cNvPr id="36" name="Rektangel 98">
            <a:extLst>
              <a:ext uri="{FF2B5EF4-FFF2-40B4-BE49-F238E27FC236}">
                <a16:creationId xmlns:a16="http://schemas.microsoft.com/office/drawing/2014/main" id="{B4281271-04DE-243F-D2AC-220C8E557DAD}"/>
              </a:ext>
            </a:extLst>
          </p:cNvPr>
          <p:cNvSpPr/>
          <p:nvPr/>
        </p:nvSpPr>
        <p:spPr bwMode="auto">
          <a:xfrm>
            <a:off x="1998170" y="1525968"/>
            <a:ext cx="2664296" cy="4282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r>
              <a:rPr lang="da-DK" sz="1200" dirty="0">
                <a:solidFill>
                  <a:schemeClr val="bg1"/>
                </a:solidFill>
              </a:rPr>
              <a:t>[ God sigende overskrift med en konklusion i sig ]</a:t>
            </a:r>
          </a:p>
        </p:txBody>
      </p:sp>
      <p:sp>
        <p:nvSpPr>
          <p:cNvPr id="37" name="Tekstboks 114">
            <a:extLst>
              <a:ext uri="{FF2B5EF4-FFF2-40B4-BE49-F238E27FC236}">
                <a16:creationId xmlns:a16="http://schemas.microsoft.com/office/drawing/2014/main" id="{B8D9657B-3B09-253F-BCF2-7EFC13DD6F90}"/>
              </a:ext>
            </a:extLst>
          </p:cNvPr>
          <p:cNvSpPr txBox="1"/>
          <p:nvPr/>
        </p:nvSpPr>
        <p:spPr>
          <a:xfrm>
            <a:off x="2047258" y="5898812"/>
            <a:ext cx="2844316" cy="1199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38" name="Rektangel 46">
            <a:extLst>
              <a:ext uri="{FF2B5EF4-FFF2-40B4-BE49-F238E27FC236}">
                <a16:creationId xmlns:a16="http://schemas.microsoft.com/office/drawing/2014/main" id="{C6ED60AE-F5DE-CAEC-6CFA-C9071B45DD7D}"/>
              </a:ext>
            </a:extLst>
          </p:cNvPr>
          <p:cNvSpPr/>
          <p:nvPr/>
        </p:nvSpPr>
        <p:spPr bwMode="auto">
          <a:xfrm>
            <a:off x="4855908" y="1708061"/>
            <a:ext cx="2664296" cy="435074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da-DK" sz="1000" dirty="0"/>
              <a:t>[ Tekst ]</a:t>
            </a:r>
            <a:endParaRPr lang="da-DK" sz="1000" baseline="0" dirty="0"/>
          </a:p>
        </p:txBody>
      </p:sp>
      <p:sp>
        <p:nvSpPr>
          <p:cNvPr id="39" name="Rektangel 47">
            <a:extLst>
              <a:ext uri="{FF2B5EF4-FFF2-40B4-BE49-F238E27FC236}">
                <a16:creationId xmlns:a16="http://schemas.microsoft.com/office/drawing/2014/main" id="{F5A8B1BF-0977-30C3-C58D-141FF948AD0B}"/>
              </a:ext>
            </a:extLst>
          </p:cNvPr>
          <p:cNvSpPr/>
          <p:nvPr/>
        </p:nvSpPr>
        <p:spPr bwMode="auto">
          <a:xfrm>
            <a:off x="4855908" y="1525968"/>
            <a:ext cx="2664296" cy="4282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r>
              <a:rPr lang="da-DK" sz="1200" dirty="0">
                <a:solidFill>
                  <a:schemeClr val="bg1"/>
                </a:solidFill>
              </a:rPr>
              <a:t>[ God sigende overskrift med en konklusion i sig ]</a:t>
            </a:r>
          </a:p>
        </p:txBody>
      </p:sp>
      <p:sp>
        <p:nvSpPr>
          <p:cNvPr id="40" name="Tekstboks 45">
            <a:extLst>
              <a:ext uri="{FF2B5EF4-FFF2-40B4-BE49-F238E27FC236}">
                <a16:creationId xmlns:a16="http://schemas.microsoft.com/office/drawing/2014/main" id="{E33567E6-CD74-3E39-9E33-A8A614A3D8BC}"/>
              </a:ext>
            </a:extLst>
          </p:cNvPr>
          <p:cNvSpPr txBox="1"/>
          <p:nvPr/>
        </p:nvSpPr>
        <p:spPr>
          <a:xfrm>
            <a:off x="4904996" y="5898812"/>
            <a:ext cx="2844316" cy="1199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41" name="Rektangel 51">
            <a:extLst>
              <a:ext uri="{FF2B5EF4-FFF2-40B4-BE49-F238E27FC236}">
                <a16:creationId xmlns:a16="http://schemas.microsoft.com/office/drawing/2014/main" id="{EC6302BE-E366-0BDE-9AE3-98694CF58829}"/>
              </a:ext>
            </a:extLst>
          </p:cNvPr>
          <p:cNvSpPr/>
          <p:nvPr/>
        </p:nvSpPr>
        <p:spPr bwMode="auto">
          <a:xfrm>
            <a:off x="7673718" y="1708061"/>
            <a:ext cx="2664296" cy="435074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sz="1000" b="1" u="sng" baseline="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endParaRPr lang="da-DK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da-DK" sz="1000" dirty="0"/>
              <a:t>[ Tekst ]</a:t>
            </a:r>
            <a:endParaRPr lang="da-DK" sz="1000" baseline="0" dirty="0"/>
          </a:p>
        </p:txBody>
      </p:sp>
      <p:sp>
        <p:nvSpPr>
          <p:cNvPr id="42" name="Rektangel 52">
            <a:extLst>
              <a:ext uri="{FF2B5EF4-FFF2-40B4-BE49-F238E27FC236}">
                <a16:creationId xmlns:a16="http://schemas.microsoft.com/office/drawing/2014/main" id="{F17DA4B0-6D51-A70B-B7F5-194E34C9AFA2}"/>
              </a:ext>
            </a:extLst>
          </p:cNvPr>
          <p:cNvSpPr/>
          <p:nvPr/>
        </p:nvSpPr>
        <p:spPr bwMode="auto">
          <a:xfrm>
            <a:off x="7673718" y="1525968"/>
            <a:ext cx="2664296" cy="4282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r>
              <a:rPr lang="da-DK" sz="1200" dirty="0">
                <a:solidFill>
                  <a:schemeClr val="bg1"/>
                </a:solidFill>
              </a:rPr>
              <a:t>[ God sigende overskrift med en konklusion i sig ]</a:t>
            </a:r>
          </a:p>
        </p:txBody>
      </p:sp>
      <p:sp>
        <p:nvSpPr>
          <p:cNvPr id="43" name="Tekstboks 50">
            <a:extLst>
              <a:ext uri="{FF2B5EF4-FFF2-40B4-BE49-F238E27FC236}">
                <a16:creationId xmlns:a16="http://schemas.microsoft.com/office/drawing/2014/main" id="{14F0FD59-34CB-1CC0-C033-FA243CC80A3A}"/>
              </a:ext>
            </a:extLst>
          </p:cNvPr>
          <p:cNvSpPr txBox="1"/>
          <p:nvPr/>
        </p:nvSpPr>
        <p:spPr>
          <a:xfrm>
            <a:off x="7722806" y="5898812"/>
            <a:ext cx="2844316" cy="1199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/>
              <a:t>Note: [ Indsæt noter ]</a:t>
            </a:r>
          </a:p>
        </p:txBody>
      </p:sp>
      <p:sp>
        <p:nvSpPr>
          <p:cNvPr id="44" name="Tekstboks 61">
            <a:extLst>
              <a:ext uri="{FF2B5EF4-FFF2-40B4-BE49-F238E27FC236}">
                <a16:creationId xmlns:a16="http://schemas.microsoft.com/office/drawing/2014/main" id="{60C47243-8AD0-D513-69CD-3BBF2C58522B}"/>
              </a:ext>
            </a:extLst>
          </p:cNvPr>
          <p:cNvSpPr txBox="1"/>
          <p:nvPr/>
        </p:nvSpPr>
        <p:spPr>
          <a:xfrm>
            <a:off x="2124810" y="1991274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45" name="Tekstfelt 55">
            <a:extLst>
              <a:ext uri="{FF2B5EF4-FFF2-40B4-BE49-F238E27FC236}">
                <a16:creationId xmlns:a16="http://schemas.microsoft.com/office/drawing/2014/main" id="{29D4842A-8759-62A6-83EF-FDC7C9F4D9DB}"/>
              </a:ext>
            </a:extLst>
          </p:cNvPr>
          <p:cNvSpPr txBox="1"/>
          <p:nvPr/>
        </p:nvSpPr>
        <p:spPr>
          <a:xfrm rot="19634656">
            <a:off x="2278339" y="2822569"/>
            <a:ext cx="2721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600" b="1" dirty="0">
                <a:solidFill>
                  <a:srgbClr val="FF0000"/>
                </a:solidFill>
              </a:rPr>
              <a:t>Dummy</a:t>
            </a:r>
          </a:p>
        </p:txBody>
      </p:sp>
      <p:sp>
        <p:nvSpPr>
          <p:cNvPr id="46" name="Tekstboks 71">
            <a:extLst>
              <a:ext uri="{FF2B5EF4-FFF2-40B4-BE49-F238E27FC236}">
                <a16:creationId xmlns:a16="http://schemas.microsoft.com/office/drawing/2014/main" id="{1FE706FB-44C3-5559-3172-96C7169522DB}"/>
              </a:ext>
            </a:extLst>
          </p:cNvPr>
          <p:cNvSpPr txBox="1"/>
          <p:nvPr/>
        </p:nvSpPr>
        <p:spPr>
          <a:xfrm>
            <a:off x="4950101" y="1986065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47" name="Tekstfelt 55">
            <a:extLst>
              <a:ext uri="{FF2B5EF4-FFF2-40B4-BE49-F238E27FC236}">
                <a16:creationId xmlns:a16="http://schemas.microsoft.com/office/drawing/2014/main" id="{4B5191FE-ECB7-B4C8-CE56-D1D0728B60A3}"/>
              </a:ext>
            </a:extLst>
          </p:cNvPr>
          <p:cNvSpPr txBox="1"/>
          <p:nvPr/>
        </p:nvSpPr>
        <p:spPr>
          <a:xfrm rot="19634656">
            <a:off x="4760821" y="2822569"/>
            <a:ext cx="2721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600" b="1" dirty="0">
                <a:solidFill>
                  <a:srgbClr val="FF0000"/>
                </a:solidFill>
              </a:rPr>
              <a:t>Dummy</a:t>
            </a:r>
          </a:p>
        </p:txBody>
      </p:sp>
      <p:sp>
        <p:nvSpPr>
          <p:cNvPr id="48" name="Tekstboks 81">
            <a:extLst>
              <a:ext uri="{FF2B5EF4-FFF2-40B4-BE49-F238E27FC236}">
                <a16:creationId xmlns:a16="http://schemas.microsoft.com/office/drawing/2014/main" id="{297199AE-B2FB-6196-7CC9-FD100BC03E62}"/>
              </a:ext>
            </a:extLst>
          </p:cNvPr>
          <p:cNvSpPr txBox="1"/>
          <p:nvPr/>
        </p:nvSpPr>
        <p:spPr>
          <a:xfrm>
            <a:off x="7722806" y="1993690"/>
            <a:ext cx="20882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dirty="0"/>
              <a:t>[ Titel på diagram ]</a:t>
            </a:r>
          </a:p>
        </p:txBody>
      </p:sp>
      <p:sp>
        <p:nvSpPr>
          <p:cNvPr id="49" name="Tekstfelt 55">
            <a:extLst>
              <a:ext uri="{FF2B5EF4-FFF2-40B4-BE49-F238E27FC236}">
                <a16:creationId xmlns:a16="http://schemas.microsoft.com/office/drawing/2014/main" id="{80AF37D2-BD4F-778E-A12F-338D55A78EF6}"/>
              </a:ext>
            </a:extLst>
          </p:cNvPr>
          <p:cNvSpPr txBox="1"/>
          <p:nvPr/>
        </p:nvSpPr>
        <p:spPr>
          <a:xfrm rot="19634656">
            <a:off x="7635941" y="2802871"/>
            <a:ext cx="2721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600" b="1" dirty="0">
                <a:solidFill>
                  <a:srgbClr val="FF0000"/>
                </a:solidFill>
              </a:rPr>
              <a:t>Dummy</a:t>
            </a:r>
          </a:p>
        </p:txBody>
      </p:sp>
      <p:sp>
        <p:nvSpPr>
          <p:cNvPr id="50" name="Oval 126">
            <a:extLst>
              <a:ext uri="{FF2B5EF4-FFF2-40B4-BE49-F238E27FC236}">
                <a16:creationId xmlns:a16="http://schemas.microsoft.com/office/drawing/2014/main" id="{0ABF1314-6864-28BE-CF15-901E95562658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858875" y="2257823"/>
            <a:ext cx="126000" cy="126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1" name="Oval 126">
            <a:extLst>
              <a:ext uri="{FF2B5EF4-FFF2-40B4-BE49-F238E27FC236}">
                <a16:creationId xmlns:a16="http://schemas.microsoft.com/office/drawing/2014/main" id="{18262CAB-54EE-2BBF-ED04-F25773F6AF3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0114033" y="2286398"/>
            <a:ext cx="88641" cy="90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2" name="Tekstboks 44">
            <a:extLst>
              <a:ext uri="{FF2B5EF4-FFF2-40B4-BE49-F238E27FC236}">
                <a16:creationId xmlns:a16="http://schemas.microsoft.com/office/drawing/2014/main" id="{E9A87374-87C2-0E1D-84CD-89CE9B425485}"/>
              </a:ext>
            </a:extLst>
          </p:cNvPr>
          <p:cNvSpPr txBox="1"/>
          <p:nvPr/>
        </p:nvSpPr>
        <p:spPr>
          <a:xfrm>
            <a:off x="9766196" y="1986065"/>
            <a:ext cx="5412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1" dirty="0"/>
              <a:t>Status</a:t>
            </a:r>
          </a:p>
          <a:p>
            <a:pPr algn="ctr"/>
            <a:r>
              <a:rPr lang="da-DK" sz="800" b="1" dirty="0"/>
              <a:t>Ift. KPI:</a:t>
            </a:r>
          </a:p>
        </p:txBody>
      </p:sp>
      <p:cxnSp>
        <p:nvCxnSpPr>
          <p:cNvPr id="53" name="Lige forbindelse 90">
            <a:extLst>
              <a:ext uri="{FF2B5EF4-FFF2-40B4-BE49-F238E27FC236}">
                <a16:creationId xmlns:a16="http://schemas.microsoft.com/office/drawing/2014/main" id="{E7EB040C-A7DE-928A-26B7-B007A9D7DE3E}"/>
              </a:ext>
            </a:extLst>
          </p:cNvPr>
          <p:cNvCxnSpPr/>
          <p:nvPr/>
        </p:nvCxnSpPr>
        <p:spPr bwMode="auto">
          <a:xfrm>
            <a:off x="9743336" y="2213519"/>
            <a:ext cx="576064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Oval 126">
            <a:extLst>
              <a:ext uri="{FF2B5EF4-FFF2-40B4-BE49-F238E27FC236}">
                <a16:creationId xmlns:a16="http://schemas.microsoft.com/office/drawing/2014/main" id="{B57212B5-0D82-108A-C54B-CC6EADAE333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057527" y="2270480"/>
            <a:ext cx="126000" cy="126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5" name="Oval 126">
            <a:extLst>
              <a:ext uri="{FF2B5EF4-FFF2-40B4-BE49-F238E27FC236}">
                <a16:creationId xmlns:a16="http://schemas.microsoft.com/office/drawing/2014/main" id="{02AFB90C-1248-6F95-7911-659EE7DBFA3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312685" y="2299055"/>
            <a:ext cx="88641" cy="90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6" name="Tekstboks 44">
            <a:extLst>
              <a:ext uri="{FF2B5EF4-FFF2-40B4-BE49-F238E27FC236}">
                <a16:creationId xmlns:a16="http://schemas.microsoft.com/office/drawing/2014/main" id="{ABFC16E2-B6BD-3EA3-ED90-B7FBDDA409A2}"/>
              </a:ext>
            </a:extLst>
          </p:cNvPr>
          <p:cNvSpPr txBox="1"/>
          <p:nvPr/>
        </p:nvSpPr>
        <p:spPr>
          <a:xfrm>
            <a:off x="6964848" y="1998722"/>
            <a:ext cx="5412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1" dirty="0"/>
              <a:t>Status</a:t>
            </a:r>
          </a:p>
          <a:p>
            <a:pPr algn="ctr"/>
            <a:r>
              <a:rPr lang="da-DK" sz="800" b="1" dirty="0"/>
              <a:t>Ift. KPI:</a:t>
            </a:r>
          </a:p>
        </p:txBody>
      </p:sp>
      <p:cxnSp>
        <p:nvCxnSpPr>
          <p:cNvPr id="57" name="Lige forbindelse 94">
            <a:extLst>
              <a:ext uri="{FF2B5EF4-FFF2-40B4-BE49-F238E27FC236}">
                <a16:creationId xmlns:a16="http://schemas.microsoft.com/office/drawing/2014/main" id="{24BE437D-6228-45E6-4245-18D89B03D82A}"/>
              </a:ext>
            </a:extLst>
          </p:cNvPr>
          <p:cNvCxnSpPr/>
          <p:nvPr/>
        </p:nvCxnSpPr>
        <p:spPr bwMode="auto">
          <a:xfrm>
            <a:off x="6941988" y="2226176"/>
            <a:ext cx="576064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Oval 126">
            <a:extLst>
              <a:ext uri="{FF2B5EF4-FFF2-40B4-BE49-F238E27FC236}">
                <a16:creationId xmlns:a16="http://schemas.microsoft.com/office/drawing/2014/main" id="{70F4BE29-2063-0E5A-594D-195A88E65FE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4202517" y="2266329"/>
            <a:ext cx="126000" cy="126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Oval 126">
            <a:extLst>
              <a:ext uri="{FF2B5EF4-FFF2-40B4-BE49-F238E27FC236}">
                <a16:creationId xmlns:a16="http://schemas.microsoft.com/office/drawing/2014/main" id="{EF014E6A-91C1-29C7-E5BB-7C58D75B7A4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4457675" y="2294904"/>
            <a:ext cx="88641" cy="900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lg" len="lg"/>
            <a:tailEnd type="none" w="lg" len="lg"/>
          </a:ln>
        </p:spPr>
        <p:txBody>
          <a:bodyPr wrap="none" anchor="ctr"/>
          <a:lstStyle/>
          <a:p>
            <a:pPr algn="ctr"/>
            <a:endParaRPr lang="da-DK" sz="900" b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60" name="Tekstboks 44">
            <a:extLst>
              <a:ext uri="{FF2B5EF4-FFF2-40B4-BE49-F238E27FC236}">
                <a16:creationId xmlns:a16="http://schemas.microsoft.com/office/drawing/2014/main" id="{C11D96E6-FFE6-29A1-73EE-FA36D8326D8B}"/>
              </a:ext>
            </a:extLst>
          </p:cNvPr>
          <p:cNvSpPr txBox="1"/>
          <p:nvPr/>
        </p:nvSpPr>
        <p:spPr>
          <a:xfrm>
            <a:off x="4109838" y="1994571"/>
            <a:ext cx="5412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b="1" dirty="0"/>
              <a:t>Status</a:t>
            </a:r>
          </a:p>
          <a:p>
            <a:pPr algn="ctr"/>
            <a:r>
              <a:rPr lang="da-DK" sz="800" b="1" dirty="0"/>
              <a:t>Ift. KPI:</a:t>
            </a:r>
          </a:p>
        </p:txBody>
      </p:sp>
      <p:cxnSp>
        <p:nvCxnSpPr>
          <p:cNvPr id="61" name="Lige forbindelse 100">
            <a:extLst>
              <a:ext uri="{FF2B5EF4-FFF2-40B4-BE49-F238E27FC236}">
                <a16:creationId xmlns:a16="http://schemas.microsoft.com/office/drawing/2014/main" id="{CACB4D50-47CE-D9A5-90B1-9D730CD71BCE}"/>
              </a:ext>
            </a:extLst>
          </p:cNvPr>
          <p:cNvCxnSpPr/>
          <p:nvPr/>
        </p:nvCxnSpPr>
        <p:spPr bwMode="auto">
          <a:xfrm>
            <a:off x="4086978" y="2222025"/>
            <a:ext cx="576064" cy="0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68029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ableOfContents TableOfContentsShowsSubsections AgendaSlide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5cUha_SmeQ6Hwn09lN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H56mIWl0S_phfy2kyG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SonOUmREGAHG8FYpdE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qMdqhuXkW_gDa3pcRi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lbG6Y6UGkKjZMHtO2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rs3QfrvU.Hg0.e6jF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SonOUmREGAHG8FYpdE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qMdqhuXkW_gDa3pcRi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lbG6Y6UGkKjZMHtO2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rs3QfrvU.Hg0.e6jFF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18WDsXHxKx78eLY6dO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QhdmB7D5RG0wvlUX3x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T9RFtFoGuRTf9mo_wY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X3hMQigb8HhcG_ssP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Lh04ES0FeHkxln72nn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7SZfF35xphx7ITPHMS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78eg6DR6uRrYn0vyI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.xM_N.LiJp1hqckqK5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4A9974D-ACA6-469A-947C-CED5CE1CB709}">
  <we:reference id="wa200010001" version="1.0.0.1" store="en-US" storeType="OMEX"/>
  <we:alternateReferences>
    <we:reference id="wa200010001" version="1.0.0.1" store="" storeType="OMEX"/>
  </we:alternateReferences>
  <we:properties>
    <we:property name="claude.fileId" value="&quot;c4b8f474-570c-4291-8b59-8edc5a9644bc&quot;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697</TotalTime>
  <Words>913</Words>
  <Application>Microsoft Office PowerPoint</Application>
  <PresentationFormat>Widescreen</PresentationFormat>
  <Paragraphs>386</Paragraphs>
  <Slides>6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Verdana</vt:lpstr>
      <vt:lpstr>struktureretsundfornuft-dk</vt:lpstr>
      <vt:lpstr>struktureretsundfornuft-dk</vt:lpstr>
      <vt:lpstr>think-cell Slide</vt:lpstr>
      <vt:lpstr>Diagram</vt:lpstr>
      <vt:lpstr>[ Projektnavn ]</vt:lpstr>
      <vt:lpstr>About This Template</vt:lpstr>
      <vt:lpstr>Status for [ program ], [ måned 20XX ]</vt:lpstr>
      <vt:lpstr>Statusrapport: [ Projektnavn, uge X 20XX ]</vt:lpstr>
      <vt:lpstr>Brug denne side ved to KPI’er</vt:lpstr>
      <vt:lpstr>Brug denne side ved tre KPI’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n Bleeker Pedersen</dc:creator>
  <cp:lastModifiedBy>Dann Bleeker Pedersen</cp:lastModifiedBy>
  <cp:revision>3</cp:revision>
  <dcterms:created xsi:type="dcterms:W3CDTF">2019-03-29T08:31:38Z</dcterms:created>
  <dcterms:modified xsi:type="dcterms:W3CDTF">2026-07-11T17:12:28Z</dcterms:modified>
</cp:coreProperties>
</file>